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openxmlformats.org/officeDocument/2006/relationships/custom-properties" Target="docProps/custom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27" r:id="rId3"/>
    <p:sldMasterId id="2147483740" r:id="rId4"/>
    <p:sldMasterId id="2147483756" r:id="rId5"/>
  </p:sldMasterIdLst>
  <p:notesMasterIdLst>
    <p:notesMasterId r:id="rId14"/>
  </p:notesMasterIdLst>
  <p:handoutMasterIdLst>
    <p:handoutMasterId r:id="rId15"/>
  </p:handoutMasterIdLst>
  <p:sldIdLst>
    <p:sldId id="524" r:id="rId6"/>
    <p:sldId id="2145706252" r:id="rId7"/>
    <p:sldId id="2145706259" r:id="rId8"/>
    <p:sldId id="2145706253" r:id="rId9"/>
    <p:sldId id="2145706258" r:id="rId10"/>
    <p:sldId id="2145706254" r:id="rId11"/>
    <p:sldId id="2145706256" r:id="rId12"/>
    <p:sldId id="2145706255" r:id="rId13"/>
  </p:sldIdLst>
  <p:sldSz cx="9144000" cy="5143500" type="screen16x9"/>
  <p:notesSz cx="6797675" cy="9928225"/>
  <p:custDataLst>
    <p:tags r:id="rId16"/>
  </p:custDataLst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orient="horz" pos="486" userDrawn="1">
          <p15:clr>
            <a:srgbClr val="A4A3A4"/>
          </p15:clr>
        </p15:guide>
        <p15:guide id="4" orient="horz" pos="1665" userDrawn="1">
          <p15:clr>
            <a:srgbClr val="A4A3A4"/>
          </p15:clr>
        </p15:guide>
        <p15:guide id="5" pos="295" userDrawn="1">
          <p15:clr>
            <a:srgbClr val="A4A3A4"/>
          </p15:clr>
        </p15:guide>
        <p15:guide id="6" orient="horz" pos="2709" userDrawn="1">
          <p15:clr>
            <a:srgbClr val="A4A3A4"/>
          </p15:clr>
        </p15:guide>
        <p15:guide id="7" orient="horz" pos="123" userDrawn="1">
          <p15:clr>
            <a:srgbClr val="A4A3A4"/>
          </p15:clr>
        </p15:guide>
        <p15:guide id="8" pos="521" userDrawn="1">
          <p15:clr>
            <a:srgbClr val="A4A3A4"/>
          </p15:clr>
        </p15:guide>
        <p15:guide id="10" orient="horz" pos="940" userDrawn="1">
          <p15:clr>
            <a:srgbClr val="A4A3A4"/>
          </p15:clr>
        </p15:guide>
        <p15:guide id="11" pos="5465" userDrawn="1">
          <p15:clr>
            <a:srgbClr val="A4A3A4"/>
          </p15:clr>
        </p15:guide>
        <p15:guide id="13" pos="5239" userDrawn="1">
          <p15:clr>
            <a:srgbClr val="A4A3A4"/>
          </p15:clr>
        </p15:guide>
        <p15:guide id="14" orient="horz" pos="350" userDrawn="1">
          <p15:clr>
            <a:srgbClr val="A4A3A4"/>
          </p15:clr>
        </p15:guide>
        <p15:guide id="15" pos="3651" userDrawn="1">
          <p15:clr>
            <a:srgbClr val="A4A3A4"/>
          </p15:clr>
        </p15:guide>
        <p15:guide id="16" pos="3742" userDrawn="1">
          <p15:clr>
            <a:srgbClr val="A4A3A4"/>
          </p15:clr>
        </p15:guide>
        <p15:guide id="17" orient="horz" pos="2618" userDrawn="1">
          <p15:clr>
            <a:srgbClr val="A4A3A4"/>
          </p15:clr>
        </p15:guide>
        <p15:guide id="18" orient="horz" pos="1892" userDrawn="1">
          <p15:clr>
            <a:srgbClr val="A4A3A4"/>
          </p15:clr>
        </p15:guide>
        <p15:guide id="19" pos="2880" userDrawn="1">
          <p15:clr>
            <a:srgbClr val="A4A3A4"/>
          </p15:clr>
        </p15:guide>
        <p15:guide id="20" orient="horz" pos="667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homas Schmitz" initials="TS" lastIdx="10" clrIdx="0">
    <p:extLst>
      <p:ext uri="{19B8F6BF-5375-455C-9EA6-DF929625EA0E}">
        <p15:presenceInfo xmlns:p15="http://schemas.microsoft.com/office/powerpoint/2012/main" userId="S-1-5-21-57968465-1444230245-834515569-28801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977D2"/>
    <a:srgbClr val="E8ECF6"/>
    <a:srgbClr val="CDD6E6"/>
    <a:srgbClr val="2777B8"/>
    <a:srgbClr val="F5F7D1"/>
    <a:srgbClr val="C2CC23"/>
    <a:srgbClr val="91991A"/>
    <a:srgbClr val="EBEFA2"/>
    <a:srgbClr val="8F991A"/>
    <a:srgbClr val="FF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7" d="100"/>
          <a:sy n="87" d="100"/>
        </p:scale>
        <p:origin x="928" y="69"/>
      </p:cViewPr>
      <p:guideLst>
        <p:guide orient="horz" pos="486"/>
        <p:guide orient="horz" pos="1665"/>
        <p:guide pos="295"/>
        <p:guide orient="horz" pos="2709"/>
        <p:guide orient="horz" pos="123"/>
        <p:guide pos="521"/>
        <p:guide orient="horz" pos="940"/>
        <p:guide pos="5465"/>
        <p:guide pos="5239"/>
        <p:guide orient="horz" pos="350"/>
        <p:guide pos="3651"/>
        <p:guide pos="3742"/>
        <p:guide orient="horz" pos="2618"/>
        <p:guide orient="horz" pos="1892"/>
        <p:guide pos="2880"/>
        <p:guide orient="horz" pos="667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1.xml"/><Relationship Id="rId21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commentAuthors" Target="commentAuthors.xml"/><Relationship Id="rId25" Type="http://schemas.openxmlformats.org/officeDocument/2006/relationships/customXml" Target="../customXml/item5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customXml" Target="../customXml/item4.xml"/><Relationship Id="rId5" Type="http://schemas.openxmlformats.org/officeDocument/2006/relationships/slideMaster" Target="slideMasters/slideMaster3.xml"/><Relationship Id="rId15" Type="http://schemas.openxmlformats.org/officeDocument/2006/relationships/handoutMaster" Target="handoutMasters/handoutMaster1.xml"/><Relationship Id="rId23" Type="http://schemas.openxmlformats.org/officeDocument/2006/relationships/customXml" Target="../customXml/item3.xml"/><Relationship Id="rId10" Type="http://schemas.openxmlformats.org/officeDocument/2006/relationships/slide" Target="slides/slide5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2.xml"/><Relationship Id="rId9" Type="http://schemas.openxmlformats.org/officeDocument/2006/relationships/slide" Target="slides/slide4.xml"/><Relationship Id="rId14" Type="http://schemas.openxmlformats.org/officeDocument/2006/relationships/notesMaster" Target="notesMasters/notesMaster1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chthild Mohr" userId="176f8862-2eae-47f6-b6a5-d416d8fe4770" providerId="ADAL" clId="{AA49E50A-25B3-473C-B9C1-AD71131B978B}"/>
    <pc:docChg chg="custSel modSld modMainMaster">
      <pc:chgData name="Mechthild Mohr" userId="176f8862-2eae-47f6-b6a5-d416d8fe4770" providerId="ADAL" clId="{AA49E50A-25B3-473C-B9C1-AD71131B978B}" dt="2025-05-20T06:49:50.042" v="10" actId="478"/>
      <pc:docMkLst>
        <pc:docMk/>
      </pc:docMkLst>
      <pc:sldChg chg="delSp mod">
        <pc:chgData name="Mechthild Mohr" userId="176f8862-2eae-47f6-b6a5-d416d8fe4770" providerId="ADAL" clId="{AA49E50A-25B3-473C-B9C1-AD71131B978B}" dt="2025-05-20T06:49:50.042" v="10" actId="478"/>
        <pc:sldMkLst>
          <pc:docMk/>
          <pc:sldMk cId="1037399510" sldId="524"/>
        </pc:sldMkLst>
        <pc:spChg chg="del">
          <ac:chgData name="Mechthild Mohr" userId="176f8862-2eae-47f6-b6a5-d416d8fe4770" providerId="ADAL" clId="{AA49E50A-25B3-473C-B9C1-AD71131B978B}" dt="2025-05-20T06:49:50.042" v="10" actId="478"/>
          <ac:spMkLst>
            <pc:docMk/>
            <pc:sldMk cId="1037399510" sldId="524"/>
            <ac:spMk id="2" creationId="{BF8009C7-00DD-4429-B7E9-53E623DF9244}"/>
          </ac:spMkLst>
        </pc:spChg>
      </pc:sldChg>
      <pc:sldChg chg="delSp mod">
        <pc:chgData name="Mechthild Mohr" userId="176f8862-2eae-47f6-b6a5-d416d8fe4770" providerId="ADAL" clId="{AA49E50A-25B3-473C-B9C1-AD71131B978B}" dt="2025-05-20T06:48:59.699" v="2" actId="478"/>
        <pc:sldMkLst>
          <pc:docMk/>
          <pc:sldMk cId="1718435583" sldId="2145706252"/>
        </pc:sldMkLst>
        <pc:spChg chg="del">
          <ac:chgData name="Mechthild Mohr" userId="176f8862-2eae-47f6-b6a5-d416d8fe4770" providerId="ADAL" clId="{AA49E50A-25B3-473C-B9C1-AD71131B978B}" dt="2025-05-20T06:48:59.699" v="2" actId="478"/>
          <ac:spMkLst>
            <pc:docMk/>
            <pc:sldMk cId="1718435583" sldId="2145706252"/>
            <ac:spMk id="2" creationId="{D5FEA92A-2CD0-4AC3-1E19-F993B89AEFE1}"/>
          </ac:spMkLst>
        </pc:spChg>
      </pc:sldChg>
      <pc:sldChg chg="delSp mod">
        <pc:chgData name="Mechthild Mohr" userId="176f8862-2eae-47f6-b6a5-d416d8fe4770" providerId="ADAL" clId="{AA49E50A-25B3-473C-B9C1-AD71131B978B}" dt="2025-05-20T06:49:07.690" v="4" actId="478"/>
        <pc:sldMkLst>
          <pc:docMk/>
          <pc:sldMk cId="3152888737" sldId="2145706253"/>
        </pc:sldMkLst>
        <pc:spChg chg="del">
          <ac:chgData name="Mechthild Mohr" userId="176f8862-2eae-47f6-b6a5-d416d8fe4770" providerId="ADAL" clId="{AA49E50A-25B3-473C-B9C1-AD71131B978B}" dt="2025-05-20T06:49:07.690" v="4" actId="478"/>
          <ac:spMkLst>
            <pc:docMk/>
            <pc:sldMk cId="3152888737" sldId="2145706253"/>
            <ac:spMk id="2" creationId="{C6866BD2-FA03-1017-5B2A-23D6B1C3F285}"/>
          </ac:spMkLst>
        </pc:spChg>
      </pc:sldChg>
      <pc:sldChg chg="delSp mod">
        <pc:chgData name="Mechthild Mohr" userId="176f8862-2eae-47f6-b6a5-d416d8fe4770" providerId="ADAL" clId="{AA49E50A-25B3-473C-B9C1-AD71131B978B}" dt="2025-05-20T06:49:14.704" v="6" actId="478"/>
        <pc:sldMkLst>
          <pc:docMk/>
          <pc:sldMk cId="2354915582" sldId="2145706254"/>
        </pc:sldMkLst>
        <pc:spChg chg="del">
          <ac:chgData name="Mechthild Mohr" userId="176f8862-2eae-47f6-b6a5-d416d8fe4770" providerId="ADAL" clId="{AA49E50A-25B3-473C-B9C1-AD71131B978B}" dt="2025-05-20T06:49:14.704" v="6" actId="478"/>
          <ac:spMkLst>
            <pc:docMk/>
            <pc:sldMk cId="2354915582" sldId="2145706254"/>
            <ac:spMk id="2" creationId="{8C13BD76-6E3A-FC80-F86C-DE35C486F2B8}"/>
          </ac:spMkLst>
        </pc:spChg>
      </pc:sldChg>
      <pc:sldChg chg="delSp mod">
        <pc:chgData name="Mechthild Mohr" userId="176f8862-2eae-47f6-b6a5-d416d8fe4770" providerId="ADAL" clId="{AA49E50A-25B3-473C-B9C1-AD71131B978B}" dt="2025-05-20T06:49:24.647" v="9" actId="478"/>
        <pc:sldMkLst>
          <pc:docMk/>
          <pc:sldMk cId="3953231956" sldId="2145706255"/>
        </pc:sldMkLst>
        <pc:spChg chg="del">
          <ac:chgData name="Mechthild Mohr" userId="176f8862-2eae-47f6-b6a5-d416d8fe4770" providerId="ADAL" clId="{AA49E50A-25B3-473C-B9C1-AD71131B978B}" dt="2025-05-20T06:49:24.647" v="9" actId="478"/>
          <ac:spMkLst>
            <pc:docMk/>
            <pc:sldMk cId="3953231956" sldId="2145706255"/>
            <ac:spMk id="2" creationId="{E5A9F8BB-8641-998E-091C-E2822B91CCCD}"/>
          </ac:spMkLst>
        </pc:spChg>
      </pc:sldChg>
      <pc:sldChg chg="delSp modSp mod">
        <pc:chgData name="Mechthild Mohr" userId="176f8862-2eae-47f6-b6a5-d416d8fe4770" providerId="ADAL" clId="{AA49E50A-25B3-473C-B9C1-AD71131B978B}" dt="2025-05-20T06:49:21.404" v="8" actId="478"/>
        <pc:sldMkLst>
          <pc:docMk/>
          <pc:sldMk cId="1978484194" sldId="2145706256"/>
        </pc:sldMkLst>
        <pc:spChg chg="del mod">
          <ac:chgData name="Mechthild Mohr" userId="176f8862-2eae-47f6-b6a5-d416d8fe4770" providerId="ADAL" clId="{AA49E50A-25B3-473C-B9C1-AD71131B978B}" dt="2025-05-20T06:49:21.404" v="8" actId="478"/>
          <ac:spMkLst>
            <pc:docMk/>
            <pc:sldMk cId="1978484194" sldId="2145706256"/>
            <ac:spMk id="2" creationId="{B9EBD865-90A8-2403-78BA-DC9B2D788AB6}"/>
          </ac:spMkLst>
        </pc:spChg>
      </pc:sldChg>
      <pc:sldChg chg="delSp mod">
        <pc:chgData name="Mechthild Mohr" userId="176f8862-2eae-47f6-b6a5-d416d8fe4770" providerId="ADAL" clId="{AA49E50A-25B3-473C-B9C1-AD71131B978B}" dt="2025-05-20T06:49:11.549" v="5" actId="478"/>
        <pc:sldMkLst>
          <pc:docMk/>
          <pc:sldMk cId="1905553866" sldId="2145706258"/>
        </pc:sldMkLst>
        <pc:spChg chg="del">
          <ac:chgData name="Mechthild Mohr" userId="176f8862-2eae-47f6-b6a5-d416d8fe4770" providerId="ADAL" clId="{AA49E50A-25B3-473C-B9C1-AD71131B978B}" dt="2025-05-20T06:49:11.549" v="5" actId="478"/>
          <ac:spMkLst>
            <pc:docMk/>
            <pc:sldMk cId="1905553866" sldId="2145706258"/>
            <ac:spMk id="2" creationId="{6703918F-D3CF-6F02-10E3-9202CD9205BB}"/>
          </ac:spMkLst>
        </pc:spChg>
      </pc:sldChg>
      <pc:sldChg chg="delSp mod">
        <pc:chgData name="Mechthild Mohr" userId="176f8862-2eae-47f6-b6a5-d416d8fe4770" providerId="ADAL" clId="{AA49E50A-25B3-473C-B9C1-AD71131B978B}" dt="2025-05-20T06:49:04.095" v="3" actId="478"/>
        <pc:sldMkLst>
          <pc:docMk/>
          <pc:sldMk cId="3296016222" sldId="2145706259"/>
        </pc:sldMkLst>
        <pc:spChg chg="del">
          <ac:chgData name="Mechthild Mohr" userId="176f8862-2eae-47f6-b6a5-d416d8fe4770" providerId="ADAL" clId="{AA49E50A-25B3-473C-B9C1-AD71131B978B}" dt="2025-05-20T06:49:04.095" v="3" actId="478"/>
          <ac:spMkLst>
            <pc:docMk/>
            <pc:sldMk cId="3296016222" sldId="2145706259"/>
            <ac:spMk id="2" creationId="{C85AA538-0592-E58D-AA72-53E648F83686}"/>
          </ac:spMkLst>
        </pc:spChg>
      </pc:sldChg>
      <pc:sldMasterChg chg="delSp mod modSldLayout">
        <pc:chgData name="Mechthild Mohr" userId="176f8862-2eae-47f6-b6a5-d416d8fe4770" providerId="ADAL" clId="{AA49E50A-25B3-473C-B9C1-AD71131B978B}" dt="2025-05-20T06:48:46.292" v="1" actId="478"/>
        <pc:sldMasterMkLst>
          <pc:docMk/>
          <pc:sldMasterMk cId="1935098717" sldId="2147483727"/>
        </pc:sldMasterMkLst>
        <pc:spChg chg="del">
          <ac:chgData name="Mechthild Mohr" userId="176f8862-2eae-47f6-b6a5-d416d8fe4770" providerId="ADAL" clId="{AA49E50A-25B3-473C-B9C1-AD71131B978B}" dt="2025-05-20T06:48:46.292" v="1" actId="478"/>
          <ac:spMkLst>
            <pc:docMk/>
            <pc:sldMasterMk cId="1935098717" sldId="2147483727"/>
            <ac:spMk id="5" creationId="{00000000-0000-0000-0000-000000000000}"/>
          </ac:spMkLst>
        </pc:spChg>
        <pc:sldLayoutChg chg="delSp mod">
          <pc:chgData name="Mechthild Mohr" userId="176f8862-2eae-47f6-b6a5-d416d8fe4770" providerId="ADAL" clId="{AA49E50A-25B3-473C-B9C1-AD71131B978B}" dt="2025-05-20T06:48:00.257" v="0" actId="478"/>
          <pc:sldLayoutMkLst>
            <pc:docMk/>
            <pc:sldMasterMk cId="1935098717" sldId="2147483727"/>
            <pc:sldLayoutMk cId="3475330354" sldId="2147483729"/>
          </pc:sldLayoutMkLst>
          <pc:spChg chg="del">
            <ac:chgData name="Mechthild Mohr" userId="176f8862-2eae-47f6-b6a5-d416d8fe4770" providerId="ADAL" clId="{AA49E50A-25B3-473C-B9C1-AD71131B978B}" dt="2025-05-20T06:48:00.257" v="0" actId="478"/>
            <ac:spMkLst>
              <pc:docMk/>
              <pc:sldMasterMk cId="1935098717" sldId="2147483727"/>
              <pc:sldLayoutMk cId="3475330354" sldId="2147483729"/>
              <ac:spMk id="5" creationId="{00000000-0000-0000-0000-000000000000}"/>
            </ac:spMkLst>
          </pc:spChg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61D7544-0FCC-4039-98E0-16801434798D}" type="datetimeFigureOut">
              <a:rPr lang="en-US" smtClean="0"/>
              <a:t>5/20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6DF5C1D-DF3D-48FF-BE59-04668463C2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626546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466174-D1A9-4949-8B18-A3FE21D0F874}" type="datetimeFigureOut">
              <a:rPr lang="nb-NO" smtClean="0"/>
              <a:t>20.05.2025</a:t>
            </a:fld>
            <a:endParaRPr lang="nb-NO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24C3D44-E0DD-4C9F-B9EB-7FB83FFC0F53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519050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4C3D44-E0DD-4C9F-B9EB-7FB83FFC0F53}" type="slidenum">
              <a:rPr lang="nb-NO" smtClean="0"/>
              <a:t>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346956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Zum Umbau vorbereiteter Reaktor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4C3D44-E0DD-4C9F-B9EB-7FB83FFC0F53}" type="slidenum">
              <a:rPr lang="nb-NO" smtClean="0"/>
              <a:t>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8752216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Einbau der neuen Unterstützungskonstruktion (Profile nach unten und in der Fläche)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4C3D44-E0DD-4C9F-B9EB-7FB83FFC0F53}" type="slidenum">
              <a:rPr lang="nb-NO" smtClean="0"/>
              <a:t>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869328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Erhöhung des Kühlschilds uns und Einbringung der Außenwandu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4C3D44-E0DD-4C9F-B9EB-7FB83FFC0F53}" type="slidenum">
              <a:rPr lang="nb-NO" smtClean="0"/>
              <a:t>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976329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Fertiger Burner Basket (flächiger Edelstahl und Rückinstallation des Überhitzers (Rohre)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4C3D44-E0DD-4C9F-B9EB-7FB83FFC0F53}" type="slidenum">
              <a:rPr lang="nb-NO" smtClean="0"/>
              <a:t>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8668316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Einbringung Lochblechboden und Stütznetz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4C3D44-E0DD-4C9F-B9EB-7FB83FFC0F53}" type="slidenum">
              <a:rPr lang="nb-NO" smtClean="0"/>
              <a:t>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5485526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Fertige Katalysatorschüttung für DeN2O </a:t>
            </a:r>
            <a:r>
              <a:rPr lang="de-DE" dirty="0" err="1"/>
              <a:t>Abatement</a:t>
            </a:r>
            <a:r>
              <a:rPr lang="de-DE" dirty="0"/>
              <a:t> 300 mm (grüne Pellets)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4C3D44-E0DD-4C9F-B9EB-7FB83FFC0F53}" type="slidenum">
              <a:rPr lang="nb-NO" smtClean="0"/>
              <a:t>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3507335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Aufgelegtes Pt/Rh Katalysatornetz (NH3 </a:t>
            </a:r>
            <a:r>
              <a:rPr lang="de-DE" dirty="0">
                <a:sym typeface="Wingdings" panose="05000000000000000000" pitchFamily="2" charset="2"/>
              </a:rPr>
              <a:t> NO) oberhalb der grünen Pellets</a:t>
            </a: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4C3D44-E0DD-4C9F-B9EB-7FB83FFC0F53}" type="slidenum">
              <a:rPr lang="nb-NO" smtClean="0"/>
              <a:t>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402860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.emf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19617" y="1563639"/>
            <a:ext cx="2808312" cy="936104"/>
          </a:xfrm>
        </p:spPr>
        <p:txBody>
          <a:bodyPr anchor="t">
            <a:noAutofit/>
          </a:bodyPr>
          <a:lstStyle>
            <a:lvl1pPr algn="l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27638" y="2643758"/>
            <a:ext cx="2808000" cy="432048"/>
          </a:xfrm>
        </p:spPr>
        <p:txBody>
          <a:bodyPr tIns="0" anchor="t">
            <a:noAutofit/>
          </a:bodyPr>
          <a:lstStyle>
            <a:lvl1pPr marL="0" indent="0" algn="l">
              <a:buNone/>
              <a:defRPr sz="12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add</a:t>
            </a:r>
          </a:p>
          <a:p>
            <a:r>
              <a:rPr lang="en-US"/>
              <a:t>Subtitl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438503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 SBC Three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268445" y="4767763"/>
            <a:ext cx="4040088" cy="273844"/>
          </a:xfrm>
          <a:prstGeom prst="rect">
            <a:avLst/>
          </a:prstGeom>
        </p:spPr>
        <p:txBody>
          <a:bodyPr/>
          <a:lstStyle/>
          <a:p>
            <a:r>
              <a:rPr lang="de-DE"/>
              <a:t>YARA Rostock Werkvorstellung (März 2023)</a:t>
            </a:r>
            <a:endParaRPr lang="nb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D838A1-36B1-482C-8BFA-C0C63145B508}" type="slidenum">
              <a:rPr lang="nb-NO" smtClean="0"/>
              <a:t>‹#›</a:t>
            </a:fld>
            <a:endParaRPr lang="nb-NO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059581"/>
            <a:ext cx="2530624" cy="941796"/>
          </a:xfrm>
        </p:spPr>
        <p:txBody>
          <a:bodyPr>
            <a:spAutoFit/>
          </a:bodyPr>
          <a:lstStyle>
            <a:lvl1pPr>
              <a:buClr>
                <a:schemeClr val="bg2"/>
              </a:buClr>
              <a:defRPr sz="1200"/>
            </a:lvl1pPr>
            <a:lvl2pPr>
              <a:buClr>
                <a:schemeClr val="bg2"/>
              </a:buClr>
              <a:defRPr sz="1200"/>
            </a:lvl2pPr>
            <a:lvl3pPr>
              <a:buClr>
                <a:schemeClr val="bg2"/>
              </a:buClr>
              <a:defRPr sz="1200"/>
            </a:lvl3pPr>
            <a:lvl4pPr>
              <a:buClr>
                <a:schemeClr val="bg2"/>
              </a:buClr>
              <a:defRPr sz="1200"/>
            </a:lvl4pPr>
            <a:lvl5pPr>
              <a:buClr>
                <a:schemeClr val="bg2"/>
              </a:buCl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3"/>
          </p:nvPr>
        </p:nvSpPr>
        <p:spPr>
          <a:xfrm>
            <a:off x="3301955" y="1059581"/>
            <a:ext cx="2530624" cy="941796"/>
          </a:xfrm>
        </p:spPr>
        <p:txBody>
          <a:bodyPr>
            <a:spAutoFit/>
          </a:bodyPr>
          <a:lstStyle>
            <a:lvl1pPr>
              <a:buClr>
                <a:schemeClr val="bg2"/>
              </a:buClr>
              <a:defRPr sz="1200"/>
            </a:lvl1pPr>
            <a:lvl2pPr>
              <a:buClr>
                <a:schemeClr val="bg2"/>
              </a:buClr>
              <a:defRPr sz="1200"/>
            </a:lvl2pPr>
            <a:lvl3pPr>
              <a:buClr>
                <a:schemeClr val="bg2"/>
              </a:buClr>
              <a:defRPr sz="1200"/>
            </a:lvl3pPr>
            <a:lvl4pPr>
              <a:buClr>
                <a:schemeClr val="bg2"/>
              </a:buClr>
              <a:defRPr sz="1200"/>
            </a:lvl4pPr>
            <a:lvl5pPr>
              <a:buClr>
                <a:schemeClr val="bg2"/>
              </a:buCl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4"/>
          </p:nvPr>
        </p:nvSpPr>
        <p:spPr>
          <a:xfrm>
            <a:off x="6146710" y="1059581"/>
            <a:ext cx="2530624" cy="941796"/>
          </a:xfrm>
        </p:spPr>
        <p:txBody>
          <a:bodyPr>
            <a:spAutoFit/>
          </a:bodyPr>
          <a:lstStyle>
            <a:lvl1pPr>
              <a:buClr>
                <a:schemeClr val="bg2"/>
              </a:buClr>
              <a:defRPr sz="1200"/>
            </a:lvl1pPr>
            <a:lvl2pPr>
              <a:buClr>
                <a:schemeClr val="bg2"/>
              </a:buClr>
              <a:defRPr sz="1200"/>
            </a:lvl2pPr>
            <a:lvl3pPr>
              <a:buClr>
                <a:schemeClr val="bg2"/>
              </a:buClr>
              <a:defRPr sz="1200"/>
            </a:lvl3pPr>
            <a:lvl4pPr>
              <a:buClr>
                <a:schemeClr val="bg2"/>
              </a:buClr>
              <a:defRPr sz="1200"/>
            </a:lvl4pPr>
            <a:lvl5pPr>
              <a:buClr>
                <a:schemeClr val="bg2"/>
              </a:buCl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05978"/>
            <a:ext cx="7643192" cy="70958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</a:t>
            </a:r>
            <a:br>
              <a:rPr lang="en-US"/>
            </a:br>
            <a:r>
              <a:rPr lang="en-US"/>
              <a:t>Add Titl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7164855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BC Title Onl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05978"/>
            <a:ext cx="7643192" cy="70958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</a:t>
            </a:r>
            <a:br>
              <a:rPr lang="en-US"/>
            </a:br>
            <a:r>
              <a:rPr lang="en-US"/>
              <a:t>Add Title</a:t>
            </a:r>
            <a:endParaRPr lang="nb-NO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268445" y="4767763"/>
            <a:ext cx="4040088" cy="273844"/>
          </a:xfrm>
          <a:prstGeom prst="rect">
            <a:avLst/>
          </a:prstGeom>
        </p:spPr>
        <p:txBody>
          <a:bodyPr/>
          <a:lstStyle/>
          <a:p>
            <a:r>
              <a:rPr lang="de-DE"/>
              <a:t>YARA Rostock Werkvorstellung (März 2023)</a:t>
            </a:r>
            <a:endParaRPr lang="nb-NO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D838A1-36B1-482C-8BFA-C0C63145B508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6912709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SBC Blan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268445" y="4767763"/>
            <a:ext cx="4040088" cy="273844"/>
          </a:xfrm>
          <a:prstGeom prst="rect">
            <a:avLst/>
          </a:prstGeom>
        </p:spPr>
        <p:txBody>
          <a:bodyPr/>
          <a:lstStyle/>
          <a:p>
            <a:r>
              <a:rPr lang="de-DE"/>
              <a:t>YARA Rostock Werkvorstellung (März 2023)</a:t>
            </a:r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D838A1-36B1-482C-8BFA-C0C63145B508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0886604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268445" y="4767763"/>
            <a:ext cx="4040088" cy="273844"/>
          </a:xfrm>
          <a:prstGeom prst="rect">
            <a:avLst/>
          </a:prstGeom>
        </p:spPr>
        <p:txBody>
          <a:bodyPr/>
          <a:lstStyle/>
          <a:p>
            <a:r>
              <a:rPr lang="de-DE"/>
              <a:t>YARA Rostock Werkvorstellung (März 2023)</a:t>
            </a:r>
            <a:endParaRPr lang="nb-NO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D838A1-36B1-482C-8BFA-C0C63145B508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3509481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19617" y="1563639"/>
            <a:ext cx="2808312" cy="936104"/>
          </a:xfrm>
        </p:spPr>
        <p:txBody>
          <a:bodyPr anchor="t">
            <a:noAutofit/>
          </a:bodyPr>
          <a:lstStyle>
            <a:lvl1pPr algn="l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27638" y="2643758"/>
            <a:ext cx="2808000" cy="432048"/>
          </a:xfrm>
        </p:spPr>
        <p:txBody>
          <a:bodyPr tIns="0" anchor="t">
            <a:noAutofit/>
          </a:bodyPr>
          <a:lstStyle>
            <a:lvl1pPr marL="0" indent="0" algn="l">
              <a:buNone/>
              <a:defRPr sz="12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add</a:t>
            </a:r>
          </a:p>
          <a:p>
            <a:r>
              <a:rPr lang="en-US"/>
              <a:t>Subtitl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7146183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</a:t>
            </a:r>
            <a:br>
              <a:rPr lang="en-US"/>
            </a:br>
            <a:r>
              <a:rPr lang="en-US"/>
              <a:t>Add Title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87574"/>
            <a:ext cx="8229600" cy="1163395"/>
          </a:xfrm>
        </p:spPr>
        <p:txBody>
          <a:bodyPr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YARA Rostock General Presentation (March 2023)</a:t>
            </a:r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D838A1-36B1-482C-8BFA-C0C63145B508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224566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05978"/>
            <a:ext cx="8229600" cy="70958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</a:t>
            </a:r>
            <a:br>
              <a:rPr lang="en-US"/>
            </a:br>
            <a:r>
              <a:rPr lang="en-US"/>
              <a:t>Add Title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87574"/>
            <a:ext cx="4038600" cy="1163395"/>
          </a:xfrm>
        </p:spPr>
        <p:txBody>
          <a:bodyPr>
            <a:sp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987574"/>
            <a:ext cx="4038600" cy="1163395"/>
          </a:xfrm>
        </p:spPr>
        <p:txBody>
          <a:bodyPr>
            <a:sp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YARA Rostock General Presentation (March 2023)</a:t>
            </a:r>
            <a:endParaRPr lang="nb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D838A1-36B1-482C-8BFA-C0C63145B508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925493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hree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05978"/>
            <a:ext cx="8229600" cy="70958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</a:t>
            </a:r>
            <a:br>
              <a:rPr lang="en-US"/>
            </a:br>
            <a:r>
              <a:rPr lang="en-US"/>
              <a:t>Add Title</a:t>
            </a:r>
            <a:endParaRPr lang="nb-NO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YARA Rostock General Presentation (March 2023)</a:t>
            </a:r>
            <a:endParaRPr lang="nb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D838A1-36B1-482C-8BFA-C0C63145B508}" type="slidenum">
              <a:rPr lang="nb-NO" smtClean="0"/>
              <a:t>‹#›</a:t>
            </a:fld>
            <a:endParaRPr lang="nb-NO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059581"/>
            <a:ext cx="2530624" cy="941796"/>
          </a:xfrm>
        </p:spPr>
        <p:txBody>
          <a:bodyPr>
            <a:spAutoFit/>
          </a:bodyPr>
          <a:lstStyle>
            <a:lvl1pPr>
              <a:buClr>
                <a:schemeClr val="bg2"/>
              </a:buClr>
              <a:defRPr sz="1200"/>
            </a:lvl1pPr>
            <a:lvl2pPr>
              <a:buClr>
                <a:schemeClr val="bg2"/>
              </a:buClr>
              <a:defRPr sz="1200"/>
            </a:lvl2pPr>
            <a:lvl3pPr>
              <a:buClr>
                <a:schemeClr val="bg2"/>
              </a:buClr>
              <a:defRPr sz="1200"/>
            </a:lvl3pPr>
            <a:lvl4pPr>
              <a:buClr>
                <a:schemeClr val="bg2"/>
              </a:buClr>
              <a:defRPr sz="1200"/>
            </a:lvl4pPr>
            <a:lvl5pPr>
              <a:buClr>
                <a:schemeClr val="bg2"/>
              </a:buCl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3"/>
          </p:nvPr>
        </p:nvSpPr>
        <p:spPr>
          <a:xfrm>
            <a:off x="3301955" y="1059581"/>
            <a:ext cx="2530624" cy="941796"/>
          </a:xfrm>
        </p:spPr>
        <p:txBody>
          <a:bodyPr>
            <a:spAutoFit/>
          </a:bodyPr>
          <a:lstStyle>
            <a:lvl1pPr>
              <a:buClr>
                <a:schemeClr val="bg2"/>
              </a:buClr>
              <a:defRPr sz="1200"/>
            </a:lvl1pPr>
            <a:lvl2pPr>
              <a:buClr>
                <a:schemeClr val="bg2"/>
              </a:buClr>
              <a:defRPr sz="1200"/>
            </a:lvl2pPr>
            <a:lvl3pPr>
              <a:buClr>
                <a:schemeClr val="bg2"/>
              </a:buClr>
              <a:defRPr sz="1200"/>
            </a:lvl3pPr>
            <a:lvl4pPr>
              <a:buClr>
                <a:schemeClr val="bg2"/>
              </a:buClr>
              <a:defRPr sz="1200"/>
            </a:lvl4pPr>
            <a:lvl5pPr>
              <a:buClr>
                <a:schemeClr val="bg2"/>
              </a:buCl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4"/>
          </p:nvPr>
        </p:nvSpPr>
        <p:spPr>
          <a:xfrm>
            <a:off x="6146710" y="1059581"/>
            <a:ext cx="2530624" cy="941796"/>
          </a:xfrm>
        </p:spPr>
        <p:txBody>
          <a:bodyPr>
            <a:spAutoFit/>
          </a:bodyPr>
          <a:lstStyle>
            <a:lvl1pPr>
              <a:buClr>
                <a:schemeClr val="bg2"/>
              </a:buClr>
              <a:defRPr sz="1200"/>
            </a:lvl1pPr>
            <a:lvl2pPr>
              <a:buClr>
                <a:schemeClr val="bg2"/>
              </a:buClr>
              <a:defRPr sz="1200"/>
            </a:lvl2pPr>
            <a:lvl3pPr>
              <a:buClr>
                <a:schemeClr val="bg2"/>
              </a:buClr>
              <a:defRPr sz="1200"/>
            </a:lvl3pPr>
            <a:lvl4pPr>
              <a:buClr>
                <a:schemeClr val="bg2"/>
              </a:buClr>
              <a:defRPr sz="1200"/>
            </a:lvl4pPr>
            <a:lvl5pPr>
              <a:buClr>
                <a:schemeClr val="bg2"/>
              </a:buCl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85606296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</a:t>
            </a:r>
            <a:br>
              <a:rPr lang="en-US"/>
            </a:br>
            <a:r>
              <a:rPr lang="en-US"/>
              <a:t>Add Title</a:t>
            </a:r>
            <a:endParaRPr lang="nb-NO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YARA Rostock General Presentation (March 2023)</a:t>
            </a:r>
            <a:endParaRPr lang="nb-NO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D838A1-36B1-482C-8BFA-C0C63145B508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4864827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490632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</a:t>
            </a:r>
            <a:br>
              <a:rPr lang="en-US"/>
            </a:br>
            <a:r>
              <a:rPr lang="en-US"/>
              <a:t>Add Title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87574"/>
            <a:ext cx="8229600" cy="1163395"/>
          </a:xfrm>
        </p:spPr>
        <p:txBody>
          <a:bodyPr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D838A1-36B1-482C-8BFA-C0C63145B508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753303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YARA Rostock General Presentation (March 2023)</a:t>
            </a:r>
            <a:endParaRPr lang="nb-NO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D838A1-36B1-482C-8BFA-C0C63145B508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032054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BC 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05978"/>
            <a:ext cx="7643192" cy="70958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</a:t>
            </a:r>
            <a:br>
              <a:rPr lang="en-US"/>
            </a:br>
            <a:r>
              <a:rPr lang="en-US"/>
              <a:t>Add Title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87574"/>
            <a:ext cx="8229600" cy="1163395"/>
          </a:xfrm>
        </p:spPr>
        <p:txBody>
          <a:bodyPr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YARA Rostock General Presentation (March 2023)</a:t>
            </a:r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D838A1-36B1-482C-8BFA-C0C63145B508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918852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SBC Two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05978"/>
            <a:ext cx="7643192" cy="70958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</a:t>
            </a:r>
            <a:br>
              <a:rPr lang="en-US"/>
            </a:br>
            <a:r>
              <a:rPr lang="en-US"/>
              <a:t>Add Title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87574"/>
            <a:ext cx="4038600" cy="1163395"/>
          </a:xfrm>
        </p:spPr>
        <p:txBody>
          <a:bodyPr>
            <a:sp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987574"/>
            <a:ext cx="4038600" cy="1163395"/>
          </a:xfrm>
        </p:spPr>
        <p:txBody>
          <a:bodyPr>
            <a:sp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YARA Rostock General Presentation (March 2023)</a:t>
            </a:r>
            <a:endParaRPr lang="nb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D838A1-36B1-482C-8BFA-C0C63145B508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24959924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 SBC Three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YARA Rostock General Presentation (March 2023)</a:t>
            </a:r>
            <a:endParaRPr lang="nb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D838A1-36B1-482C-8BFA-C0C63145B508}" type="slidenum">
              <a:rPr lang="nb-NO" smtClean="0"/>
              <a:t>‹#›</a:t>
            </a:fld>
            <a:endParaRPr lang="nb-NO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059581"/>
            <a:ext cx="2530624" cy="941796"/>
          </a:xfrm>
        </p:spPr>
        <p:txBody>
          <a:bodyPr>
            <a:spAutoFit/>
          </a:bodyPr>
          <a:lstStyle>
            <a:lvl1pPr>
              <a:buClr>
                <a:schemeClr val="bg2"/>
              </a:buClr>
              <a:defRPr sz="1200"/>
            </a:lvl1pPr>
            <a:lvl2pPr>
              <a:buClr>
                <a:schemeClr val="bg2"/>
              </a:buClr>
              <a:defRPr sz="1200"/>
            </a:lvl2pPr>
            <a:lvl3pPr>
              <a:buClr>
                <a:schemeClr val="bg2"/>
              </a:buClr>
              <a:defRPr sz="1200"/>
            </a:lvl3pPr>
            <a:lvl4pPr>
              <a:buClr>
                <a:schemeClr val="bg2"/>
              </a:buClr>
              <a:defRPr sz="1200"/>
            </a:lvl4pPr>
            <a:lvl5pPr>
              <a:buClr>
                <a:schemeClr val="bg2"/>
              </a:buCl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3"/>
          </p:nvPr>
        </p:nvSpPr>
        <p:spPr>
          <a:xfrm>
            <a:off x="3301955" y="1059581"/>
            <a:ext cx="2530624" cy="941796"/>
          </a:xfrm>
        </p:spPr>
        <p:txBody>
          <a:bodyPr>
            <a:spAutoFit/>
          </a:bodyPr>
          <a:lstStyle>
            <a:lvl1pPr>
              <a:buClr>
                <a:schemeClr val="bg2"/>
              </a:buClr>
              <a:defRPr sz="1200"/>
            </a:lvl1pPr>
            <a:lvl2pPr>
              <a:buClr>
                <a:schemeClr val="bg2"/>
              </a:buClr>
              <a:defRPr sz="1200"/>
            </a:lvl2pPr>
            <a:lvl3pPr>
              <a:buClr>
                <a:schemeClr val="bg2"/>
              </a:buClr>
              <a:defRPr sz="1200"/>
            </a:lvl3pPr>
            <a:lvl4pPr>
              <a:buClr>
                <a:schemeClr val="bg2"/>
              </a:buClr>
              <a:defRPr sz="1200"/>
            </a:lvl4pPr>
            <a:lvl5pPr>
              <a:buClr>
                <a:schemeClr val="bg2"/>
              </a:buCl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4"/>
          </p:nvPr>
        </p:nvSpPr>
        <p:spPr>
          <a:xfrm>
            <a:off x="6146710" y="1059581"/>
            <a:ext cx="2530624" cy="941796"/>
          </a:xfrm>
        </p:spPr>
        <p:txBody>
          <a:bodyPr>
            <a:spAutoFit/>
          </a:bodyPr>
          <a:lstStyle>
            <a:lvl1pPr>
              <a:buClr>
                <a:schemeClr val="bg2"/>
              </a:buClr>
              <a:defRPr sz="1200"/>
            </a:lvl1pPr>
            <a:lvl2pPr>
              <a:buClr>
                <a:schemeClr val="bg2"/>
              </a:buClr>
              <a:defRPr sz="1200"/>
            </a:lvl2pPr>
            <a:lvl3pPr>
              <a:buClr>
                <a:schemeClr val="bg2"/>
              </a:buClr>
              <a:defRPr sz="1200"/>
            </a:lvl3pPr>
            <a:lvl4pPr>
              <a:buClr>
                <a:schemeClr val="bg2"/>
              </a:buClr>
              <a:defRPr sz="1200"/>
            </a:lvl4pPr>
            <a:lvl5pPr>
              <a:buClr>
                <a:schemeClr val="bg2"/>
              </a:buCl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05978"/>
            <a:ext cx="7643192" cy="70958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</a:t>
            </a:r>
            <a:br>
              <a:rPr lang="en-US"/>
            </a:br>
            <a:r>
              <a:rPr lang="en-US"/>
              <a:t>Add Titl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1045739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BC Title Onl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05978"/>
            <a:ext cx="7643192" cy="70958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</a:t>
            </a:r>
            <a:br>
              <a:rPr lang="en-US"/>
            </a:br>
            <a:r>
              <a:rPr lang="en-US"/>
              <a:t>Add Title</a:t>
            </a:r>
            <a:endParaRPr lang="nb-NO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YARA Rostock General Presentation (March 2023)</a:t>
            </a:r>
            <a:endParaRPr lang="nb-NO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D838A1-36B1-482C-8BFA-C0C63145B508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3308484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SBC Blan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YARA Rostock General Presentation (March 2023)</a:t>
            </a:r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D838A1-36B1-482C-8BFA-C0C63145B508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1356380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YARA Rostock General Presentation (March 2023)</a:t>
            </a:r>
            <a:endParaRPr lang="nb-NO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D838A1-36B1-482C-8BFA-C0C63145B508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1326274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65D23D2-88AF-4F2B-901E-9561B97DBBB3}"/>
              </a:ext>
            </a:extLst>
          </p:cNvPr>
          <p:cNvSpPr/>
          <p:nvPr userDrawn="1"/>
        </p:nvSpPr>
        <p:spPr>
          <a:xfrm>
            <a:off x="0" y="-9144"/>
            <a:ext cx="9144000" cy="51526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27000" rIns="54000" bIns="27000" rtlCol="0" anchor="ctr"/>
          <a:lstStyle/>
          <a:p>
            <a:pPr algn="ctr"/>
            <a:endParaRPr lang="en-US" sz="1500" noProof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69083" y="1655940"/>
            <a:ext cx="3153227" cy="1230136"/>
          </a:xfrm>
        </p:spPr>
        <p:txBody>
          <a:bodyPr anchor="b"/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69083" y="3075164"/>
            <a:ext cx="3153227" cy="1133475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500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1500">
                <a:solidFill>
                  <a:schemeClr val="bg1"/>
                </a:solidFill>
              </a:defRPr>
            </a:lvl2pPr>
            <a:lvl3pPr marL="0" indent="0" algn="l">
              <a:buFont typeface="Arial" panose="020B0604020202020204" pitchFamily="34" charset="0"/>
              <a:buChar char="​"/>
              <a:defRPr sz="1500">
                <a:solidFill>
                  <a:schemeClr val="bg1"/>
                </a:solidFill>
              </a:defRPr>
            </a:lvl3pPr>
            <a:lvl4pPr marL="0" indent="0" algn="l">
              <a:buFont typeface="Arial" panose="020B0604020202020204" pitchFamily="34" charset="0"/>
              <a:buChar char="​"/>
              <a:defRPr sz="1500">
                <a:solidFill>
                  <a:schemeClr val="bg1"/>
                </a:solidFill>
              </a:defRPr>
            </a:lvl4pPr>
            <a:lvl5pPr marL="0" indent="0" algn="l">
              <a:buFont typeface="Arial" panose="020B0604020202020204" pitchFamily="34" charset="0"/>
              <a:buChar char="​"/>
              <a:defRPr sz="1500">
                <a:solidFill>
                  <a:schemeClr val="bg1"/>
                </a:solidFill>
              </a:defRPr>
            </a:lvl5pPr>
            <a:lvl6pPr marL="0" indent="0" algn="l">
              <a:buFont typeface="Arial" panose="020B0604020202020204" pitchFamily="34" charset="0"/>
              <a:buChar char="​"/>
              <a:defRPr sz="1500">
                <a:solidFill>
                  <a:schemeClr val="bg1"/>
                </a:solidFill>
              </a:defRPr>
            </a:lvl6pPr>
            <a:lvl7pPr marL="0" indent="0" algn="l">
              <a:buFont typeface="Arial" panose="020B0604020202020204" pitchFamily="34" charset="0"/>
              <a:buChar char="​"/>
              <a:defRPr sz="1500">
                <a:solidFill>
                  <a:schemeClr val="bg1"/>
                </a:solidFill>
              </a:defRPr>
            </a:lvl7pPr>
            <a:lvl8pPr marL="0" indent="0" algn="l">
              <a:buFont typeface="Arial" panose="020B0604020202020204" pitchFamily="34" charset="0"/>
              <a:buChar char="​"/>
              <a:defRPr sz="1500">
                <a:solidFill>
                  <a:schemeClr val="bg1"/>
                </a:solidFill>
              </a:defRPr>
            </a:lvl8pPr>
            <a:lvl9pPr marL="0" indent="0" algn="l">
              <a:buFont typeface="Arial" panose="020B0604020202020204" pitchFamily="34" charset="0"/>
              <a:buChar char="​"/>
              <a:defRPr sz="1500">
                <a:solidFill>
                  <a:schemeClr val="bg1"/>
                </a:solidFill>
              </a:defRPr>
            </a:lvl9pPr>
          </a:lstStyle>
          <a:p>
            <a:r>
              <a:rPr lang="en-GB"/>
              <a:t>Click to add subtitle</a:t>
            </a:r>
          </a:p>
        </p:txBody>
      </p:sp>
      <p:sp>
        <p:nvSpPr>
          <p:cNvPr id="10" name="Date Placeholder 6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 rot="10800000" flipH="1" flipV="1">
            <a:off x="269082" y="4312004"/>
            <a:ext cx="3153226" cy="324000"/>
          </a:xfrm>
        </p:spPr>
        <p:txBody>
          <a:bodyPr/>
          <a:lstStyle>
            <a:lvl1pPr algn="l">
              <a:defRPr sz="1350">
                <a:solidFill>
                  <a:schemeClr val="bg1"/>
                </a:solidFill>
              </a:defRPr>
            </a:lvl1pPr>
          </a:lstStyle>
          <a:p>
            <a:fld id="{F7A73578-3C0A-4575-9AD0-8339B23E5B2E}" type="datetime6">
              <a:rPr lang="en-GB" smtClean="0"/>
              <a:t>May 25</a:t>
            </a:fld>
            <a:endParaRPr lang="en-GB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907AF373-10DB-41A4-A308-A75F7F7C981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69082" y="280987"/>
            <a:ext cx="1469362" cy="1138238"/>
          </a:xfrm>
          <a:prstGeom prst="rect">
            <a:avLst/>
          </a:prstGeom>
        </p:spPr>
      </p:pic>
      <p:pic>
        <p:nvPicPr>
          <p:cNvPr id="1939143576" name="image" descr="{&quot;templafy&quot;:{&quot;id&quot;:&quot;e5e3e197-44b1-4d7c-a813-1f17753b4528&quot;}}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55117" y="-9144"/>
            <a:ext cx="729000" cy="1021277"/>
          </a:xfrm>
          <a:prstGeom prst="rect">
            <a:avLst/>
          </a:prstGeom>
        </p:spPr>
      </p:pic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1DB3F678-BB57-46F5-83B3-29757CF5EF63}"/>
              </a:ext>
            </a:extLst>
          </p:cNvPr>
          <p:cNvSpPr/>
          <p:nvPr userDrawn="1"/>
        </p:nvSpPr>
        <p:spPr>
          <a:xfrm>
            <a:off x="6382383" y="334566"/>
            <a:ext cx="1809684" cy="4448188"/>
          </a:xfrm>
          <a:custGeom>
            <a:avLst/>
            <a:gdLst>
              <a:gd name="connsiteX0" fmla="*/ 0 w 2421537"/>
              <a:gd name="connsiteY0" fmla="*/ 0 h 5952116"/>
              <a:gd name="connsiteX1" fmla="*/ 286165 w 2421537"/>
              <a:gd name="connsiteY1" fmla="*/ 73580 h 5952116"/>
              <a:gd name="connsiteX2" fmla="*/ 2421537 w 2421537"/>
              <a:gd name="connsiteY2" fmla="*/ 2976058 h 5952116"/>
              <a:gd name="connsiteX3" fmla="*/ 286165 w 2421537"/>
              <a:gd name="connsiteY3" fmla="*/ 5878536 h 5952116"/>
              <a:gd name="connsiteX4" fmla="*/ 0 w 2421537"/>
              <a:gd name="connsiteY4" fmla="*/ 5952116 h 59521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21537" h="5952116">
                <a:moveTo>
                  <a:pt x="0" y="0"/>
                </a:moveTo>
                <a:lnTo>
                  <a:pt x="286165" y="73580"/>
                </a:lnTo>
                <a:cubicBezTo>
                  <a:pt x="1523291" y="458367"/>
                  <a:pt x="2421537" y="1612314"/>
                  <a:pt x="2421537" y="2976058"/>
                </a:cubicBezTo>
                <a:cubicBezTo>
                  <a:pt x="2421537" y="4339802"/>
                  <a:pt x="1523291" y="5493750"/>
                  <a:pt x="286165" y="5878536"/>
                </a:cubicBezTo>
                <a:lnTo>
                  <a:pt x="0" y="5952116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54000" tIns="27000" rIns="54000" bIns="27000" rtlCol="0" anchor="ctr">
            <a:noAutofit/>
          </a:bodyPr>
          <a:lstStyle/>
          <a:p>
            <a:pPr algn="ctr"/>
            <a:endParaRPr lang="en-US" sz="1500" noProof="0" err="1"/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9576CEE0-540D-4E69-8BDC-C0B2C833210C}"/>
              </a:ext>
            </a:extLst>
          </p:cNvPr>
          <p:cNvSpPr/>
          <p:nvPr userDrawn="1"/>
        </p:nvSpPr>
        <p:spPr>
          <a:xfrm>
            <a:off x="3692448" y="2989888"/>
            <a:ext cx="1792231" cy="1799960"/>
          </a:xfrm>
          <a:custGeom>
            <a:avLst/>
            <a:gdLst>
              <a:gd name="connsiteX0" fmla="*/ 0 w 2389641"/>
              <a:gd name="connsiteY0" fmla="*/ 0 h 2399947"/>
              <a:gd name="connsiteX1" fmla="*/ 2389641 w 2389641"/>
              <a:gd name="connsiteY1" fmla="*/ 0 h 2399947"/>
              <a:gd name="connsiteX2" fmla="*/ 2389641 w 2389641"/>
              <a:gd name="connsiteY2" fmla="*/ 2399947 h 2399947"/>
              <a:gd name="connsiteX3" fmla="*/ 2355861 w 2389641"/>
              <a:gd name="connsiteY3" fmla="*/ 2392916 h 2399947"/>
              <a:gd name="connsiteX4" fmla="*/ 651080 w 2389641"/>
              <a:gd name="connsiteY4" fmla="*/ 1353668 h 2399947"/>
              <a:gd name="connsiteX5" fmla="*/ 4180 w 2389641"/>
              <a:gd name="connsiteY5" fmla="*/ 21935 h 23999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389641" h="2399947">
                <a:moveTo>
                  <a:pt x="0" y="0"/>
                </a:moveTo>
                <a:lnTo>
                  <a:pt x="2389641" y="0"/>
                </a:lnTo>
                <a:lnTo>
                  <a:pt x="2389641" y="2399947"/>
                </a:lnTo>
                <a:lnTo>
                  <a:pt x="2355861" y="2392916"/>
                </a:lnTo>
                <a:cubicBezTo>
                  <a:pt x="2139676" y="2345534"/>
                  <a:pt x="1261124" y="2112688"/>
                  <a:pt x="651080" y="1353668"/>
                </a:cubicBezTo>
                <a:cubicBezTo>
                  <a:pt x="179067" y="766281"/>
                  <a:pt x="35645" y="178891"/>
                  <a:pt x="4180" y="21935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54000" tIns="27000" rIns="54000" bIns="27000" rtlCol="0" anchor="ctr">
            <a:noAutofit/>
          </a:bodyPr>
          <a:lstStyle/>
          <a:p>
            <a:pPr algn="ctr"/>
            <a:endParaRPr lang="en-US" sz="1500" noProof="0" err="1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23FB9329-5CFA-4B5F-93D3-16D41B7D7D52}"/>
              </a:ext>
            </a:extLst>
          </p:cNvPr>
          <p:cNvSpPr/>
          <p:nvPr userDrawn="1"/>
        </p:nvSpPr>
        <p:spPr>
          <a:xfrm>
            <a:off x="5466168" y="3891201"/>
            <a:ext cx="916214" cy="937906"/>
          </a:xfrm>
          <a:custGeom>
            <a:avLst/>
            <a:gdLst>
              <a:gd name="connsiteX0" fmla="*/ 0 w 1221618"/>
              <a:gd name="connsiteY0" fmla="*/ 0 h 1250541"/>
              <a:gd name="connsiteX1" fmla="*/ 1221618 w 1221618"/>
              <a:gd name="connsiteY1" fmla="*/ 0 h 1250541"/>
              <a:gd name="connsiteX2" fmla="*/ 1221618 w 1221618"/>
              <a:gd name="connsiteY2" fmla="*/ 1187475 h 1250541"/>
              <a:gd name="connsiteX3" fmla="*/ 1209592 w 1221618"/>
              <a:gd name="connsiteY3" fmla="*/ 1189947 h 1250541"/>
              <a:gd name="connsiteX4" fmla="*/ 615527 w 1221618"/>
              <a:gd name="connsiteY4" fmla="*/ 1250541 h 1250541"/>
              <a:gd name="connsiteX5" fmla="*/ 0 w 1221618"/>
              <a:gd name="connsiteY5" fmla="*/ 1195294 h 12505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21618" h="1250541">
                <a:moveTo>
                  <a:pt x="0" y="0"/>
                </a:moveTo>
                <a:lnTo>
                  <a:pt x="1221618" y="0"/>
                </a:lnTo>
                <a:lnTo>
                  <a:pt x="1221618" y="1187475"/>
                </a:lnTo>
                <a:lnTo>
                  <a:pt x="1209592" y="1189947"/>
                </a:lnTo>
                <a:cubicBezTo>
                  <a:pt x="1116341" y="1208453"/>
                  <a:pt x="876452" y="1250541"/>
                  <a:pt x="615527" y="1250541"/>
                </a:cubicBezTo>
                <a:cubicBezTo>
                  <a:pt x="332413" y="1250541"/>
                  <a:pt x="57648" y="1205317"/>
                  <a:pt x="0" y="1195294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54000" tIns="27000" rIns="54000" bIns="27000" rtlCol="0" anchor="ctr">
            <a:noAutofit/>
          </a:bodyPr>
          <a:lstStyle/>
          <a:p>
            <a:pPr algn="ctr"/>
            <a:endParaRPr lang="en-US" sz="1500" noProof="0" err="1"/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C650A837-4C8A-4181-9D23-2BF8AE28D468}"/>
              </a:ext>
            </a:extLst>
          </p:cNvPr>
          <p:cNvSpPr/>
          <p:nvPr userDrawn="1"/>
        </p:nvSpPr>
        <p:spPr>
          <a:xfrm>
            <a:off x="5466169" y="2990415"/>
            <a:ext cx="916214" cy="904528"/>
          </a:xfrm>
          <a:custGeom>
            <a:avLst/>
            <a:gdLst>
              <a:gd name="connsiteX0" fmla="*/ 0 w 1221619"/>
              <a:gd name="connsiteY0" fmla="*/ 0 h 1206037"/>
              <a:gd name="connsiteX1" fmla="*/ 1221619 w 1221619"/>
              <a:gd name="connsiteY1" fmla="*/ 0 h 1206037"/>
              <a:gd name="connsiteX2" fmla="*/ 1221619 w 1221619"/>
              <a:gd name="connsiteY2" fmla="*/ 1206037 h 1206037"/>
              <a:gd name="connsiteX3" fmla="*/ 0 w 1221619"/>
              <a:gd name="connsiteY3" fmla="*/ 1206037 h 12060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1619" h="1206037">
                <a:moveTo>
                  <a:pt x="0" y="0"/>
                </a:moveTo>
                <a:lnTo>
                  <a:pt x="1221619" y="0"/>
                </a:lnTo>
                <a:lnTo>
                  <a:pt x="1221619" y="1206037"/>
                </a:lnTo>
                <a:lnTo>
                  <a:pt x="0" y="1206037"/>
                </a:lnTo>
                <a:close/>
              </a:path>
            </a:pathLst>
          </a:custGeom>
          <a:solidFill>
            <a:srgbClr val="D9E1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54000" tIns="27000" rIns="54000" bIns="27000" rtlCol="0" anchor="ctr">
            <a:noAutofit/>
          </a:bodyPr>
          <a:lstStyle/>
          <a:p>
            <a:pPr algn="ctr"/>
            <a:endParaRPr lang="en-US" sz="1500" noProof="0" err="1"/>
          </a:p>
        </p:txBody>
      </p:sp>
      <p:sp>
        <p:nvSpPr>
          <p:cNvPr id="89" name="Picture Placeholder 88">
            <a:extLst>
              <a:ext uri="{FF2B5EF4-FFF2-40B4-BE49-F238E27FC236}">
                <a16:creationId xmlns:a16="http://schemas.microsoft.com/office/drawing/2014/main" id="{F1A501EE-E0A8-4DA8-BBDC-5674570D3640}"/>
              </a:ext>
            </a:extLst>
          </p:cNvPr>
          <p:cNvSpPr>
            <a:spLocks noGrp="1"/>
          </p:cNvSpPr>
          <p:nvPr userDrawn="1">
            <p:ph type="pic" sz="quarter" idx="21" hasCustomPrompt="1"/>
          </p:nvPr>
        </p:nvSpPr>
        <p:spPr>
          <a:xfrm>
            <a:off x="3653373" y="294316"/>
            <a:ext cx="2731391" cy="2695580"/>
          </a:xfrm>
          <a:custGeom>
            <a:avLst/>
            <a:gdLst>
              <a:gd name="connsiteX0" fmla="*/ 2870276 w 3437021"/>
              <a:gd name="connsiteY0" fmla="*/ 7 h 3394979"/>
              <a:gd name="connsiteX1" fmla="*/ 3429147 w 3437021"/>
              <a:gd name="connsiteY1" fmla="*/ 52193 h 3394979"/>
              <a:gd name="connsiteX2" fmla="*/ 3437021 w 3437021"/>
              <a:gd name="connsiteY2" fmla="*/ 53923 h 3394979"/>
              <a:gd name="connsiteX3" fmla="*/ 3437021 w 3437021"/>
              <a:gd name="connsiteY3" fmla="*/ 3394979 h 3394979"/>
              <a:gd name="connsiteX4" fmla="*/ 46548 w 3437021"/>
              <a:gd name="connsiteY4" fmla="*/ 3394979 h 3394979"/>
              <a:gd name="connsiteX5" fmla="*/ 40083 w 3437021"/>
              <a:gd name="connsiteY5" fmla="*/ 3362294 h 3394979"/>
              <a:gd name="connsiteX6" fmla="*/ 714251 w 3437021"/>
              <a:gd name="connsiteY6" fmla="*/ 963965 h 3394979"/>
              <a:gd name="connsiteX7" fmla="*/ 2527495 w 3437021"/>
              <a:gd name="connsiteY7" fmla="*/ 19847 h 3394979"/>
              <a:gd name="connsiteX8" fmla="*/ 2870276 w 3437021"/>
              <a:gd name="connsiteY8" fmla="*/ 7 h 3394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437021" h="3394979">
                <a:moveTo>
                  <a:pt x="2870276" y="7"/>
                </a:moveTo>
                <a:cubicBezTo>
                  <a:pt x="3145925" y="-549"/>
                  <a:pt x="3350762" y="35787"/>
                  <a:pt x="3429147" y="52193"/>
                </a:cubicBezTo>
                <a:lnTo>
                  <a:pt x="3437021" y="53923"/>
                </a:lnTo>
                <a:lnTo>
                  <a:pt x="3437021" y="3394979"/>
                </a:lnTo>
                <a:lnTo>
                  <a:pt x="46548" y="3394979"/>
                </a:lnTo>
                <a:lnTo>
                  <a:pt x="40083" y="3362294"/>
                </a:lnTo>
                <a:cubicBezTo>
                  <a:pt x="-4627" y="3119390"/>
                  <a:pt x="-162537" y="1947142"/>
                  <a:pt x="714251" y="963965"/>
                </a:cubicBezTo>
                <a:cubicBezTo>
                  <a:pt x="1318666" y="286034"/>
                  <a:pt x="2033847" y="76341"/>
                  <a:pt x="2527495" y="19847"/>
                </a:cubicBezTo>
                <a:cubicBezTo>
                  <a:pt x="2649981" y="5786"/>
                  <a:pt x="2765267" y="219"/>
                  <a:pt x="2870276" y="7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936000"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GB"/>
              <a:t>Click here and insert image </a:t>
            </a:r>
            <a:br>
              <a:rPr lang="en-GB"/>
            </a:br>
            <a:r>
              <a:rPr lang="en-GB"/>
              <a:t>via Templafy, Images</a:t>
            </a:r>
          </a:p>
        </p:txBody>
      </p:sp>
    </p:spTree>
    <p:extLst>
      <p:ext uri="{BB962C8B-B14F-4D97-AF65-F5344CB8AC3E}">
        <p14:creationId xmlns:p14="http://schemas.microsoft.com/office/powerpoint/2010/main" val="417116684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C64976C-D297-4093-9A04-09D1D7A3A0D7}"/>
              </a:ext>
            </a:extLst>
          </p:cNvPr>
          <p:cNvSpPr/>
          <p:nvPr userDrawn="1"/>
        </p:nvSpPr>
        <p:spPr>
          <a:xfrm>
            <a:off x="6473952" y="283464"/>
            <a:ext cx="2670048" cy="42428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27000" rIns="54000" bIns="27000" rtlCol="0" anchor="ctr"/>
          <a:lstStyle/>
          <a:p>
            <a:pPr algn="ctr"/>
            <a:endParaRPr lang="en-GB" sz="1500" noProof="0" err="1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3CDD21F-CD46-4CEC-ABDA-2D06D110FEB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ltGray">
          <a:xfrm>
            <a:off x="0" y="0"/>
            <a:ext cx="9144000" cy="5143500"/>
          </a:xfrm>
          <a:custGeom>
            <a:avLst/>
            <a:gdLst>
              <a:gd name="connsiteX0" fmla="*/ 11144061 w 12192000"/>
              <a:gd name="connsiteY0" fmla="*/ 5043052 h 6858000"/>
              <a:gd name="connsiteX1" fmla="*/ 12192000 w 12192000"/>
              <a:gd name="connsiteY1" fmla="*/ 5043052 h 6858000"/>
              <a:gd name="connsiteX2" fmla="*/ 12192000 w 12192000"/>
              <a:gd name="connsiteY2" fmla="*/ 6057492 h 6858000"/>
              <a:gd name="connsiteX3" fmla="*/ 12182248 w 12192000"/>
              <a:gd name="connsiteY3" fmla="*/ 6059486 h 6858000"/>
              <a:gd name="connsiteX4" fmla="*/ 11672364 w 12192000"/>
              <a:gd name="connsiteY4" fmla="*/ 6111219 h 6858000"/>
              <a:gd name="connsiteX5" fmla="*/ 11144061 w 12192000"/>
              <a:gd name="connsiteY5" fmla="*/ 6064054 h 6858000"/>
              <a:gd name="connsiteX6" fmla="*/ 11144061 w 12192000"/>
              <a:gd name="connsiteY6" fmla="*/ 3948064 h 6858000"/>
              <a:gd name="connsiteX7" fmla="*/ 12192000 w 12192000"/>
              <a:gd name="connsiteY7" fmla="*/ 3948064 h 6858000"/>
              <a:gd name="connsiteX8" fmla="*/ 12192000 w 12192000"/>
              <a:gd name="connsiteY8" fmla="*/ 5019700 h 6858000"/>
              <a:gd name="connsiteX9" fmla="*/ 11144061 w 12192000"/>
              <a:gd name="connsiteY9" fmla="*/ 5019700 h 6858000"/>
              <a:gd name="connsiteX10" fmla="*/ 9018537 w 12192000"/>
              <a:gd name="connsiteY10" fmla="*/ 3948064 h 6858000"/>
              <a:gd name="connsiteX11" fmla="*/ 11120709 w 12192000"/>
              <a:gd name="connsiteY11" fmla="*/ 3948064 h 6858000"/>
              <a:gd name="connsiteX12" fmla="*/ 11120709 w 12192000"/>
              <a:gd name="connsiteY12" fmla="*/ 5019700 h 6858000"/>
              <a:gd name="connsiteX13" fmla="*/ 11120709 w 12192000"/>
              <a:gd name="connsiteY13" fmla="*/ 6059892 h 6858000"/>
              <a:gd name="connsiteX14" fmla="*/ 9591518 w 12192000"/>
              <a:gd name="connsiteY14" fmla="*/ 5140158 h 6858000"/>
              <a:gd name="connsiteX15" fmla="*/ 9022639 w 12192000"/>
              <a:gd name="connsiteY15" fmla="*/ 3969576 h 6858000"/>
              <a:gd name="connsiteX16" fmla="*/ 11659988 w 12192000"/>
              <a:gd name="connsiteY16" fmla="*/ 740227 h 6858000"/>
              <a:gd name="connsiteX17" fmla="*/ 12172464 w 12192000"/>
              <a:gd name="connsiteY17" fmla="*/ 786818 h 6858000"/>
              <a:gd name="connsiteX18" fmla="*/ 12192000 w 12192000"/>
              <a:gd name="connsiteY18" fmla="*/ 791020 h 6858000"/>
              <a:gd name="connsiteX19" fmla="*/ 12192000 w 12192000"/>
              <a:gd name="connsiteY19" fmla="*/ 3924019 h 6858000"/>
              <a:gd name="connsiteX20" fmla="*/ 11144061 w 12192000"/>
              <a:gd name="connsiteY20" fmla="*/ 3924019 h 6858000"/>
              <a:gd name="connsiteX21" fmla="*/ 11120940 w 12192000"/>
              <a:gd name="connsiteY21" fmla="*/ 3924019 h 6858000"/>
              <a:gd name="connsiteX22" fmla="*/ 9014017 w 12192000"/>
              <a:gd name="connsiteY22" fmla="*/ 3924019 h 6858000"/>
              <a:gd name="connsiteX23" fmla="*/ 9007590 w 12192000"/>
              <a:gd name="connsiteY23" fmla="*/ 3891337 h 6858000"/>
              <a:gd name="connsiteX24" fmla="*/ 9639378 w 12192000"/>
              <a:gd name="connsiteY24" fmla="*/ 1643643 h 6858000"/>
              <a:gd name="connsiteX25" fmla="*/ 11338735 w 12192000"/>
              <a:gd name="connsiteY25" fmla="*/ 758821 h 6858000"/>
              <a:gd name="connsiteX26" fmla="*/ 11659988 w 12192000"/>
              <a:gd name="connsiteY26" fmla="*/ 740227 h 6858000"/>
              <a:gd name="connsiteX27" fmla="*/ 0 w 12192000"/>
              <a:gd name="connsiteY27" fmla="*/ 0 h 6858000"/>
              <a:gd name="connsiteX28" fmla="*/ 12192000 w 12192000"/>
              <a:gd name="connsiteY28" fmla="*/ 0 h 6858000"/>
              <a:gd name="connsiteX29" fmla="*/ 12192000 w 12192000"/>
              <a:gd name="connsiteY29" fmla="*/ 178724 h 6858000"/>
              <a:gd name="connsiteX30" fmla="*/ 12192000 w 12192000"/>
              <a:gd name="connsiteY30" fmla="*/ 377825 h 6858000"/>
              <a:gd name="connsiteX31" fmla="*/ 12192000 w 12192000"/>
              <a:gd name="connsiteY31" fmla="*/ 767627 h 6858000"/>
              <a:gd name="connsiteX32" fmla="*/ 12153423 w 12192000"/>
              <a:gd name="connsiteY32" fmla="*/ 759796 h 6858000"/>
              <a:gd name="connsiteX33" fmla="*/ 11336885 w 12192000"/>
              <a:gd name="connsiteY33" fmla="*/ 735931 h 6858000"/>
              <a:gd name="connsiteX34" fmla="*/ 9622037 w 12192000"/>
              <a:gd name="connsiteY34" fmla="*/ 1628383 h 6858000"/>
              <a:gd name="connsiteX35" fmla="*/ 8990252 w 12192000"/>
              <a:gd name="connsiteY35" fmla="*/ 3922626 h 6858000"/>
              <a:gd name="connsiteX36" fmla="*/ 8993369 w 12192000"/>
              <a:gd name="connsiteY36" fmla="*/ 3937040 h 6858000"/>
              <a:gd name="connsiteX37" fmla="*/ 8993391 w 12192000"/>
              <a:gd name="connsiteY37" fmla="*/ 3937198 h 6858000"/>
              <a:gd name="connsiteX38" fmla="*/ 9573715 w 12192000"/>
              <a:gd name="connsiteY38" fmla="*/ 5154494 h 6858000"/>
              <a:gd name="connsiteX39" fmla="*/ 11118437 w 12192000"/>
              <a:gd name="connsiteY39" fmla="*/ 6082827 h 6858000"/>
              <a:gd name="connsiteX40" fmla="*/ 11121105 w 12192000"/>
              <a:gd name="connsiteY40" fmla="*/ 6083322 h 6858000"/>
              <a:gd name="connsiteX41" fmla="*/ 11130188 w 12192000"/>
              <a:gd name="connsiteY41" fmla="*/ 6085093 h 6858000"/>
              <a:gd name="connsiteX42" fmla="*/ 11672133 w 12192000"/>
              <a:gd name="connsiteY42" fmla="*/ 6134341 h 6858000"/>
              <a:gd name="connsiteX43" fmla="*/ 12175860 w 12192000"/>
              <a:gd name="connsiteY43" fmla="*/ 6084205 h 6858000"/>
              <a:gd name="connsiteX44" fmla="*/ 12192000 w 12192000"/>
              <a:gd name="connsiteY44" fmla="*/ 6080954 h 6858000"/>
              <a:gd name="connsiteX45" fmla="*/ 12192000 w 12192000"/>
              <a:gd name="connsiteY45" fmla="*/ 6304887 h 6858000"/>
              <a:gd name="connsiteX46" fmla="*/ 12192000 w 12192000"/>
              <a:gd name="connsiteY46" fmla="*/ 6477924 h 6858000"/>
              <a:gd name="connsiteX47" fmla="*/ 12192000 w 12192000"/>
              <a:gd name="connsiteY47" fmla="*/ 6858000 h 6858000"/>
              <a:gd name="connsiteX48" fmla="*/ 0 w 12192000"/>
              <a:gd name="connsiteY48" fmla="*/ 6858000 h 6858000"/>
              <a:gd name="connsiteX49" fmla="*/ 0 w 12192000"/>
              <a:gd name="connsiteY49" fmla="*/ 6477924 h 6858000"/>
              <a:gd name="connsiteX50" fmla="*/ 0 w 12192000"/>
              <a:gd name="connsiteY50" fmla="*/ 6304887 h 6858000"/>
              <a:gd name="connsiteX51" fmla="*/ 0 w 12192000"/>
              <a:gd name="connsiteY51" fmla="*/ 377825 h 6858000"/>
              <a:gd name="connsiteX52" fmla="*/ 0 w 12192000"/>
              <a:gd name="connsiteY52" fmla="*/ 178724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</a:cxnLst>
            <a:rect l="l" t="t" r="r" b="b"/>
            <a:pathLst>
              <a:path w="12192000" h="6858000">
                <a:moveTo>
                  <a:pt x="11144061" y="5043052"/>
                </a:moveTo>
                <a:lnTo>
                  <a:pt x="12192000" y="5043052"/>
                </a:lnTo>
                <a:lnTo>
                  <a:pt x="12192000" y="6057492"/>
                </a:lnTo>
                <a:lnTo>
                  <a:pt x="12182248" y="6059486"/>
                </a:lnTo>
                <a:cubicBezTo>
                  <a:pt x="12102211" y="6075285"/>
                  <a:pt x="11896316" y="6111219"/>
                  <a:pt x="11672364" y="6111219"/>
                </a:cubicBezTo>
                <a:cubicBezTo>
                  <a:pt x="11429368" y="6111219"/>
                  <a:pt x="11193538" y="6072609"/>
                  <a:pt x="11144061" y="6064054"/>
                </a:cubicBezTo>
                <a:close/>
                <a:moveTo>
                  <a:pt x="11144061" y="3948064"/>
                </a:moveTo>
                <a:lnTo>
                  <a:pt x="12192000" y="3948064"/>
                </a:lnTo>
                <a:lnTo>
                  <a:pt x="12192000" y="5019700"/>
                </a:lnTo>
                <a:lnTo>
                  <a:pt x="11144061" y="5019700"/>
                </a:lnTo>
                <a:close/>
                <a:moveTo>
                  <a:pt x="9018537" y="3948064"/>
                </a:moveTo>
                <a:lnTo>
                  <a:pt x="11120709" y="3948064"/>
                </a:lnTo>
                <a:lnTo>
                  <a:pt x="11120709" y="5019700"/>
                </a:lnTo>
                <a:lnTo>
                  <a:pt x="11120709" y="6059892"/>
                </a:lnTo>
                <a:cubicBezTo>
                  <a:pt x="11004644" y="6037235"/>
                  <a:pt x="10163751" y="5851808"/>
                  <a:pt x="9591518" y="5140158"/>
                </a:cubicBezTo>
                <a:cubicBezTo>
                  <a:pt x="9176433" y="4623848"/>
                  <a:pt x="9050309" y="4107538"/>
                  <a:pt x="9022639" y="3969576"/>
                </a:cubicBezTo>
                <a:close/>
                <a:moveTo>
                  <a:pt x="11659988" y="740227"/>
                </a:moveTo>
                <a:cubicBezTo>
                  <a:pt x="11906023" y="739731"/>
                  <a:pt x="12091863" y="770595"/>
                  <a:pt x="12172464" y="786818"/>
                </a:cubicBezTo>
                <a:lnTo>
                  <a:pt x="12192000" y="791020"/>
                </a:lnTo>
                <a:lnTo>
                  <a:pt x="12192000" y="3924019"/>
                </a:lnTo>
                <a:lnTo>
                  <a:pt x="11144061" y="3924019"/>
                </a:lnTo>
                <a:lnTo>
                  <a:pt x="11120940" y="3924019"/>
                </a:lnTo>
                <a:lnTo>
                  <a:pt x="9014017" y="3924019"/>
                </a:lnTo>
                <a:lnTo>
                  <a:pt x="9007590" y="3891337"/>
                </a:lnTo>
                <a:cubicBezTo>
                  <a:pt x="8965852" y="3663689"/>
                  <a:pt x="8817661" y="2565068"/>
                  <a:pt x="9639378" y="1643643"/>
                </a:cubicBezTo>
                <a:cubicBezTo>
                  <a:pt x="10205830" y="1008291"/>
                  <a:pt x="10876093" y="811767"/>
                  <a:pt x="11338735" y="758821"/>
                </a:cubicBezTo>
                <a:cubicBezTo>
                  <a:pt x="11453529" y="745643"/>
                  <a:pt x="11561574" y="740426"/>
                  <a:pt x="11659988" y="740227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178724"/>
                </a:lnTo>
                <a:lnTo>
                  <a:pt x="12192000" y="377825"/>
                </a:lnTo>
                <a:lnTo>
                  <a:pt x="12192000" y="767627"/>
                </a:lnTo>
                <a:lnTo>
                  <a:pt x="12153423" y="759796"/>
                </a:lnTo>
                <a:cubicBezTo>
                  <a:pt x="12022481" y="735324"/>
                  <a:pt x="11716294" y="692581"/>
                  <a:pt x="11336885" y="735931"/>
                </a:cubicBezTo>
                <a:cubicBezTo>
                  <a:pt x="10870083" y="789109"/>
                  <a:pt x="10193808" y="987252"/>
                  <a:pt x="9622037" y="1628383"/>
                </a:cubicBezTo>
                <a:cubicBezTo>
                  <a:pt x="8755018" y="2600745"/>
                  <a:pt x="8958903" y="3769812"/>
                  <a:pt x="8990252" y="3922626"/>
                </a:cubicBezTo>
                <a:lnTo>
                  <a:pt x="8993369" y="3937040"/>
                </a:lnTo>
                <a:lnTo>
                  <a:pt x="8993391" y="3937198"/>
                </a:lnTo>
                <a:cubicBezTo>
                  <a:pt x="8994315" y="3943209"/>
                  <a:pt x="9087029" y="4549198"/>
                  <a:pt x="9573715" y="5154494"/>
                </a:cubicBezTo>
                <a:cubicBezTo>
                  <a:pt x="10153534" y="5875637"/>
                  <a:pt x="11006464" y="6061125"/>
                  <a:pt x="11118437" y="6082827"/>
                </a:cubicBezTo>
                <a:lnTo>
                  <a:pt x="11121105" y="6083322"/>
                </a:lnTo>
                <a:lnTo>
                  <a:pt x="11130188" y="6085093"/>
                </a:lnTo>
                <a:cubicBezTo>
                  <a:pt x="11132963" y="6085557"/>
                  <a:pt x="11397924" y="6134341"/>
                  <a:pt x="11672133" y="6134341"/>
                </a:cubicBezTo>
                <a:cubicBezTo>
                  <a:pt x="11888715" y="6134341"/>
                  <a:pt x="12088519" y="6101047"/>
                  <a:pt x="12175860" y="6084205"/>
                </a:cubicBezTo>
                <a:lnTo>
                  <a:pt x="12192000" y="6080954"/>
                </a:lnTo>
                <a:lnTo>
                  <a:pt x="12192000" y="6304887"/>
                </a:lnTo>
                <a:lnTo>
                  <a:pt x="12192000" y="6477924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477924"/>
                </a:lnTo>
                <a:lnTo>
                  <a:pt x="0" y="6304887"/>
                </a:lnTo>
                <a:lnTo>
                  <a:pt x="0" y="377825"/>
                </a:lnTo>
                <a:lnTo>
                  <a:pt x="0" y="178724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.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2A1FAC4C-2447-47DA-AAB4-9EAC400B815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04812" y="1348978"/>
            <a:ext cx="3798479" cy="1283494"/>
          </a:xfrm>
        </p:spPr>
        <p:txBody>
          <a:bodyPr anchor="b"/>
          <a:lstStyle>
            <a:lvl1pPr algn="l"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B4DBC4B-7E16-45D0-B72A-99EBDFD16699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D4C049C0-F16D-4818-98DF-4F6E243A0823}" type="datetime6">
              <a:rPr lang="en-GB" smtClean="0"/>
              <a:t>May 25</a:t>
            </a:fld>
            <a:endParaRPr lang="en-GB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3297A132-C2EE-4CE3-8B75-B1FDFF50D4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/>
          </a:p>
        </p:txBody>
      </p:sp>
      <p:sp>
        <p:nvSpPr>
          <p:cNvPr id="11" name="Slide Number Placeholder 10" hidden="1">
            <a:extLst>
              <a:ext uri="{FF2B5EF4-FFF2-40B4-BE49-F238E27FC236}">
                <a16:creationId xmlns:a16="http://schemas.microsoft.com/office/drawing/2014/main" id="{E1304FA1-E0F5-4AD4-846A-37642FFE487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0581882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(Enter+TAB for next text level, SHIFT+TAB to go back in levels)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EDF1E64-0BC0-4941-8FFB-3A71A98EA4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BBFF43-773A-4690-9F02-E2E4D376850B}" type="datetime6">
              <a:rPr lang="en-GB" smtClean="0"/>
              <a:t>May 25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EFDC879-555B-4B99-8F4C-5066F0F20B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5F63A2C-6198-4B31-B738-56535BA7E7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9022664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05978"/>
            <a:ext cx="8229600" cy="70958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</a:t>
            </a:r>
            <a:br>
              <a:rPr lang="en-US"/>
            </a:br>
            <a:r>
              <a:rPr lang="en-US"/>
              <a:t>Add Title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87574"/>
            <a:ext cx="4038600" cy="1163395"/>
          </a:xfrm>
        </p:spPr>
        <p:txBody>
          <a:bodyPr>
            <a:sp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987574"/>
            <a:ext cx="4038600" cy="1163395"/>
          </a:xfrm>
        </p:spPr>
        <p:txBody>
          <a:bodyPr>
            <a:sp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268445" y="4767763"/>
            <a:ext cx="4040088" cy="273844"/>
          </a:xfrm>
          <a:prstGeom prst="rect">
            <a:avLst/>
          </a:prstGeom>
        </p:spPr>
        <p:txBody>
          <a:bodyPr/>
          <a:lstStyle/>
          <a:p>
            <a:r>
              <a:rPr lang="de-DE"/>
              <a:t>YARA Rostock Werkvorstellung (März 2023)</a:t>
            </a:r>
            <a:endParaRPr lang="nb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D838A1-36B1-482C-8BFA-C0C63145B508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8729322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04999" y="1350000"/>
            <a:ext cx="4097306" cy="31671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(Enter+TAB for next text level, SHIFT+TAB to go back in levels)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639500" y="1355400"/>
            <a:ext cx="4097306" cy="31671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(Enter+TAB for next text level, SHIFT+TAB to go back in levels)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  <a:endParaRPr lang="en-GB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B012D5B-9B1E-418C-B340-656657E499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58FB1E-0E3F-49F3-92E1-D879BD25ED99}" type="datetime6">
              <a:rPr lang="en-GB" smtClean="0"/>
              <a:t>May 25</a:t>
            </a:fld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F5B1665-CF89-4C65-9299-ED31AFA4D7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8E7A5C13-4749-4A79-AFBE-43492B56A1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5954753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5000" y="405000"/>
            <a:ext cx="8334900" cy="863204"/>
          </a:xfrm>
        </p:spPr>
        <p:txBody>
          <a:bodyPr/>
          <a:lstStyle/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05000" y="1350000"/>
            <a:ext cx="2564101" cy="31725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(Enter+TAB for next text level, SHIFT+TAB to go back in levels)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289500" y="1350000"/>
            <a:ext cx="2565000" cy="31725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(Enter+TAB for next text level, SHIFT+TAB to go back in levels)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  <a:endParaRPr lang="en-GB"/>
          </a:p>
        </p:txBody>
      </p:sp>
      <p:sp>
        <p:nvSpPr>
          <p:cNvPr id="8" name="Content Placeholder 4">
            <a:extLst>
              <a:ext uri="{FF2B5EF4-FFF2-40B4-BE49-F238E27FC236}">
                <a16:creationId xmlns:a16="http://schemas.microsoft.com/office/drawing/2014/main" id="{9A42D6F0-A4EA-4276-A4AC-9D1AB4342CE2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174900" y="1350000"/>
            <a:ext cx="2565000" cy="31725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(Enter+TAB for next text level, SHIFT+TAB to go back in levels)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  <a:endParaRPr lang="en-GB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B96FB0C5-4A14-469C-BBB6-211FD4B72F6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E8D1779-8C81-4DB3-8235-F4DFDF894A9C}" type="datetime6">
              <a:rPr lang="en-GB" smtClean="0"/>
              <a:t>May 25</a:t>
            </a:fld>
            <a:endParaRPr lang="en-GB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098FFEA5-A780-4345-BEF1-AAA5D1DFB73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B38C4FF1-FA1A-4A09-B508-8A6C04BA9B6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642737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7D3A001-429C-47E6-88A1-8CFEFCB88B5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813" y="2667001"/>
            <a:ext cx="8334375" cy="185142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"/>
            <a:ext cx="9144000" cy="2476499"/>
          </a:xfrm>
          <a:solidFill>
            <a:schemeClr val="bg1">
              <a:lumMod val="95000"/>
            </a:schemeClr>
          </a:solidFill>
        </p:spPr>
        <p:txBody>
          <a:bodyPr tIns="72000" anchor="t" anchorCtr="0"/>
          <a:lstStyle>
            <a:lvl1pPr marL="0" indent="0" algn="ctr">
              <a:buNone/>
              <a:defRPr sz="1200"/>
            </a:lvl1pPr>
          </a:lstStyle>
          <a:p>
            <a:r>
              <a:rPr lang="en-GB"/>
              <a:t>Click here and insert image via Templafy, Images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7D30B06-03F4-49D9-B1E9-9E3DA70D9F6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4567000A-48C8-4045-BD62-63BEECF3D54E}" type="datetime6">
              <a:rPr lang="en-GB" smtClean="0"/>
              <a:t>May 25</a:t>
            </a:fld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DF1BCBFD-C165-48EE-9261-525C33DD004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4DB9F243-CCE4-41C0-8963-739854D56F9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9025893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323B52-4ABB-472D-8186-F3BF381DC1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5000" y="405000"/>
            <a:ext cx="4031993" cy="86320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7D3A001-429C-47E6-88A1-8CFEFCB88B5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812" y="1348978"/>
            <a:ext cx="4032188" cy="317352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707000" y="0"/>
            <a:ext cx="4437000" cy="4724400"/>
          </a:xfrm>
          <a:solidFill>
            <a:schemeClr val="bg1">
              <a:lumMod val="95000"/>
            </a:schemeClr>
          </a:solidFill>
        </p:spPr>
        <p:txBody>
          <a:bodyPr tIns="72000" anchor="t" anchorCtr="0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rgbClr val="2777B8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here and insert image via Templafy, Images</a:t>
            </a:r>
          </a:p>
          <a:p>
            <a:endParaRPr lang="en-GB" noProof="0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7D30B06-03F4-49D9-B1E9-9E3DA70D9F6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39F4A88C-8FB3-43CA-9E03-4ACAAD47C9A7}" type="datetime6">
              <a:rPr lang="en-GB" smtClean="0"/>
              <a:t>May 25</a:t>
            </a:fld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DF1BCBFD-C165-48EE-9261-525C33DD004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4DB9F243-CCE4-41C0-8963-739854D56F9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5204706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323B52-4ABB-472D-8186-F3BF381DC1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04805" y="405000"/>
            <a:ext cx="4031993" cy="86320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7D3A001-429C-47E6-88A1-8CFEFCB88B5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04618" y="1368703"/>
            <a:ext cx="4032188" cy="315379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4437000" cy="4724400"/>
          </a:xfrm>
          <a:solidFill>
            <a:schemeClr val="bg1">
              <a:lumMod val="95000"/>
            </a:schemeClr>
          </a:solidFill>
        </p:spPr>
        <p:txBody>
          <a:bodyPr tIns="72000" anchor="t" anchorCtr="0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rgbClr val="2777B8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here and insert image via Templafy, Images</a:t>
            </a:r>
          </a:p>
          <a:p>
            <a:endParaRPr lang="en-GB" noProof="0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7D30B06-03F4-49D9-B1E9-9E3DA70D9F6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70255A6A-BCB4-4659-B1C6-74F70A334082}" type="datetime6">
              <a:rPr lang="en-GB" smtClean="0"/>
              <a:t>May 25</a:t>
            </a:fld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DF1BCBFD-C165-48EE-9261-525C33DD004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4DB9F243-CCE4-41C0-8963-739854D56F9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5614847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add tit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BA5755D-1BE9-42A9-929E-A63DEEC5B2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1C3D67-DBA4-48D2-AAFC-ECD9A9F4103E}" type="datetime6">
              <a:rPr lang="en-GB" smtClean="0"/>
              <a:t>May 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102A880-3CF6-4E67-B5D8-E059AC3483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321F475-DC90-4C02-9CBD-60E13987B5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5709193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578DBC4-5AB4-4F00-952D-E8E5FAAC04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C4CF4A-F1F9-438F-8A54-FCBB7C80B45F}" type="datetime6">
              <a:rPr lang="en-GB" smtClean="0"/>
              <a:t>May 25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2C91983-00E8-424B-B389-7DE321CA61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52AB89F-D8E8-44C4-B0A4-3354FEBB8C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0715658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&gt;Do not use layouts after this &gt;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F124504-36FD-4753-851D-5B7D02D4A2D1}"/>
              </a:ext>
            </a:extLst>
          </p:cNvPr>
          <p:cNvSpPr/>
          <p:nvPr userDrawn="1"/>
        </p:nvSpPr>
        <p:spPr bwMode="ltGray"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450"/>
              </a:spcBef>
              <a:buClr>
                <a:srgbClr val="003755"/>
              </a:buClr>
            </a:pPr>
            <a:endParaRPr lang="en-GB" sz="1050" err="1">
              <a:solidFill>
                <a:schemeClr val="tx1"/>
              </a:solidFill>
            </a:endParaRPr>
          </a:p>
        </p:txBody>
      </p:sp>
      <p:sp>
        <p:nvSpPr>
          <p:cNvPr id="5" name="Do not use"/>
          <p:cNvSpPr txBox="1"/>
          <p:nvPr userDrawn="1"/>
        </p:nvSpPr>
        <p:spPr>
          <a:xfrm>
            <a:off x="322660" y="492618"/>
            <a:ext cx="8517733" cy="21698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3300" b="0" noProof="0">
                <a:solidFill>
                  <a:schemeClr val="bg1"/>
                </a:solidFill>
              </a:rPr>
              <a:t>If you see any </a:t>
            </a:r>
            <a:r>
              <a:rPr lang="en-GB" sz="3300" b="1" i="1" noProof="0">
                <a:solidFill>
                  <a:schemeClr val="bg1"/>
                </a:solidFill>
              </a:rPr>
              <a:t>layouts after this </a:t>
            </a:r>
            <a:r>
              <a:rPr lang="en-GB" sz="3300" b="0" i="0" noProof="0">
                <a:solidFill>
                  <a:schemeClr val="bg1"/>
                </a:solidFill>
              </a:rPr>
              <a:t>one</a:t>
            </a:r>
            <a:r>
              <a:rPr lang="en-GB" sz="3300" b="1" i="1" noProof="0">
                <a:solidFill>
                  <a:schemeClr val="bg1"/>
                </a:solidFill>
              </a:rPr>
              <a:t>,</a:t>
            </a:r>
            <a:br>
              <a:rPr lang="en-GB" sz="3300" b="0" i="0" noProof="0">
                <a:solidFill>
                  <a:schemeClr val="bg1"/>
                </a:solidFill>
              </a:rPr>
            </a:br>
            <a:r>
              <a:rPr lang="en-GB" sz="3300" b="0" noProof="0">
                <a:solidFill>
                  <a:schemeClr val="bg1"/>
                </a:solidFill>
              </a:rPr>
              <a:t>do not use them. These layouts </a:t>
            </a:r>
            <a:r>
              <a:rPr lang="en-GB" sz="3300" b="1" i="1" u="none" noProof="0">
                <a:solidFill>
                  <a:schemeClr val="bg1"/>
                </a:solidFill>
              </a:rPr>
              <a:t>are not </a:t>
            </a:r>
            <a:r>
              <a:rPr lang="en-GB" sz="3300" b="0" noProof="0">
                <a:solidFill>
                  <a:schemeClr val="bg1"/>
                </a:solidFill>
              </a:rPr>
              <a:t>part of our corporate template.</a:t>
            </a:r>
            <a:br>
              <a:rPr lang="en-GB" sz="2100" b="0" noProof="0">
                <a:solidFill>
                  <a:schemeClr val="bg1"/>
                </a:solidFill>
              </a:rPr>
            </a:br>
            <a:br>
              <a:rPr lang="en-GB" sz="2100" b="0" noProof="0">
                <a:solidFill>
                  <a:schemeClr val="bg1"/>
                </a:solidFill>
              </a:rPr>
            </a:br>
            <a:endParaRPr lang="en-GB" sz="2100" b="0" noProof="0">
              <a:solidFill>
                <a:schemeClr val="bg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BEB5E5A-DA85-4D5B-80B9-F94482F55D76}"/>
              </a:ext>
            </a:extLst>
          </p:cNvPr>
          <p:cNvGrpSpPr/>
          <p:nvPr userDrawn="1"/>
        </p:nvGrpSpPr>
        <p:grpSpPr bwMode="black">
          <a:xfrm rot="8100000">
            <a:off x="7803656" y="2493920"/>
            <a:ext cx="777591" cy="777591"/>
            <a:chOff x="6096000" y="4963130"/>
            <a:chExt cx="1456719" cy="1456719"/>
          </a:xfrm>
          <a:solidFill>
            <a:schemeClr val="bg1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823227E-A862-4A7F-BC20-0D107430AB2C}"/>
                </a:ext>
              </a:extLst>
            </p:cNvPr>
            <p:cNvSpPr/>
            <p:nvPr userDrawn="1"/>
          </p:nvSpPr>
          <p:spPr bwMode="black">
            <a:xfrm rot="5400000">
              <a:off x="5534135" y="5524995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450"/>
                </a:spcBef>
                <a:buClr>
                  <a:srgbClr val="003755"/>
                </a:buClr>
              </a:pPr>
              <a:endParaRPr lang="en-GB" sz="1050" err="1">
                <a:solidFill>
                  <a:schemeClr val="tx1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8501AE6-6504-4184-9443-E89AFACF769D}"/>
                </a:ext>
              </a:extLst>
            </p:cNvPr>
            <p:cNvSpPr/>
            <p:nvPr userDrawn="1"/>
          </p:nvSpPr>
          <p:spPr bwMode="black">
            <a:xfrm rot="10800000">
              <a:off x="6096000" y="4963130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450"/>
                </a:spcBef>
                <a:buClr>
                  <a:srgbClr val="003755"/>
                </a:buClr>
              </a:pPr>
              <a:endParaRPr lang="en-GB" sz="1050" err="1">
                <a:solidFill>
                  <a:schemeClr val="tx1"/>
                </a:solidFill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67CEE09B-6EE1-4BF2-85A3-DE69E91BC4C6}"/>
              </a:ext>
            </a:extLst>
          </p:cNvPr>
          <p:cNvSpPr/>
          <p:nvPr userDrawn="1"/>
        </p:nvSpPr>
        <p:spPr>
          <a:xfrm>
            <a:off x="322660" y="1941281"/>
            <a:ext cx="7614260" cy="16850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0350" b="1" i="1" noProof="0">
                <a:solidFill>
                  <a:schemeClr val="bg1"/>
                </a:solidFill>
              </a:rPr>
              <a:t>Do not use </a:t>
            </a:r>
            <a:endParaRPr lang="en-GB" sz="1800" b="1" i="1"/>
          </a:p>
        </p:txBody>
      </p:sp>
      <p:sp>
        <p:nvSpPr>
          <p:cNvPr id="16" name="Do not use">
            <a:extLst>
              <a:ext uri="{FF2B5EF4-FFF2-40B4-BE49-F238E27FC236}">
                <a16:creationId xmlns:a16="http://schemas.microsoft.com/office/drawing/2014/main" id="{A8FA78FA-4D94-4717-B7C6-6F86378D6B01}"/>
              </a:ext>
            </a:extLst>
          </p:cNvPr>
          <p:cNvSpPr txBox="1"/>
          <p:nvPr userDrawn="1"/>
        </p:nvSpPr>
        <p:spPr>
          <a:xfrm>
            <a:off x="322660" y="3889841"/>
            <a:ext cx="8517731" cy="73353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1500" b="0" noProof="0">
                <a:solidFill>
                  <a:schemeClr val="bg1"/>
                </a:solidFill>
              </a:rPr>
              <a:t>Due to PowerPoint’s standard Copy/Paste functionality extra undesirable layouts can appear.</a:t>
            </a:r>
          </a:p>
          <a:p>
            <a:pPr marL="0" marR="0" indent="0" algn="ctr" fontAlgn="auto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1500" b="0" noProof="0">
                <a:solidFill>
                  <a:schemeClr val="bg1"/>
                </a:solidFill>
              </a:rPr>
              <a:t>Also notice: Layouts after this might contain potential confidential information.</a:t>
            </a:r>
            <a:br>
              <a:rPr lang="en-GB" sz="1350" b="0" noProof="0">
                <a:solidFill>
                  <a:schemeClr val="bg1"/>
                </a:solidFill>
              </a:rPr>
            </a:br>
            <a:endParaRPr lang="en-GB" sz="1350" b="0" noProof="0">
              <a:solidFill>
                <a:schemeClr val="bg1"/>
              </a:solidFill>
            </a:endParaRPr>
          </a:p>
        </p:txBody>
      </p:sp>
      <p:sp>
        <p:nvSpPr>
          <p:cNvPr id="13" name="Date Placeholder 6" hidden="1">
            <a:extLst>
              <a:ext uri="{FF2B5EF4-FFF2-40B4-BE49-F238E27FC236}">
                <a16:creationId xmlns:a16="http://schemas.microsoft.com/office/drawing/2014/main" id="{706505A8-87EA-4BA0-B698-35156BC765D0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89AA5F62-0E66-4A5B-8A91-45009C0AB3C1}" type="datetime6">
              <a:rPr lang="en-GB" smtClean="0"/>
              <a:t>May 25</a:t>
            </a:fld>
            <a:endParaRPr lang="en-GB"/>
          </a:p>
        </p:txBody>
      </p:sp>
      <p:sp>
        <p:nvSpPr>
          <p:cNvPr id="14" name="Footer Placeholder 8" hidden="1">
            <a:extLst>
              <a:ext uri="{FF2B5EF4-FFF2-40B4-BE49-F238E27FC236}">
                <a16:creationId xmlns:a16="http://schemas.microsoft.com/office/drawing/2014/main" id="{AB150C2C-2030-498B-8262-6BD5BCCBB34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/>
          </a:p>
        </p:txBody>
      </p:sp>
      <p:sp>
        <p:nvSpPr>
          <p:cNvPr id="15" name="Slide Number Placeholder 10" hidden="1">
            <a:extLst>
              <a:ext uri="{FF2B5EF4-FFF2-40B4-BE49-F238E27FC236}">
                <a16:creationId xmlns:a16="http://schemas.microsoft.com/office/drawing/2014/main" id="{E81B246F-92C7-4EF8-ACD0-05F73C7095B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1190005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134538" indent="-134538">
              <a:buClr>
                <a:schemeClr val="bg2"/>
              </a:buClr>
              <a:buFont typeface="Arial" panose="020B0604020202020204" pitchFamily="34" charset="0"/>
              <a:buChar char="•"/>
              <a:defRPr/>
            </a:lvl1pPr>
            <a:lvl2pPr marL="421190" indent="-134997">
              <a:buClr>
                <a:schemeClr val="bg2"/>
              </a:buClr>
              <a:buFont typeface="Arial" panose="020B0604020202020204" pitchFamily="34" charset="0"/>
              <a:buChar char="•"/>
              <a:defRPr/>
            </a:lvl2pPr>
            <a:lvl3pPr marL="764081" indent="-134997">
              <a:buClr>
                <a:schemeClr val="bg2"/>
              </a:buClr>
              <a:buFont typeface="Arial" panose="020B0604020202020204" pitchFamily="34" charset="0"/>
              <a:buChar char="•"/>
              <a:defRPr/>
            </a:lvl3pPr>
            <a:lvl4pPr marL="1106972" indent="-134997">
              <a:buClr>
                <a:schemeClr val="bg2"/>
              </a:buClr>
              <a:buFont typeface="Arial" panose="020B0604020202020204" pitchFamily="34" charset="0"/>
              <a:buChar char="•"/>
              <a:defRPr/>
            </a:lvl4pPr>
            <a:lvl5pPr marL="1430964" indent="-134997">
              <a:buClr>
                <a:schemeClr val="bg2"/>
              </a:buClr>
              <a:buFont typeface="Arial" panose="020B0604020202020204" pitchFamily="34" charset="0"/>
              <a:buChar char="•"/>
              <a:defRPr/>
            </a:lvl5pPr>
            <a:lvl6pPr indent="-134997">
              <a:defRPr/>
            </a:lvl6pPr>
            <a:lvl7pPr indent="-134997">
              <a:defRPr/>
            </a:lvl7pPr>
            <a:lvl8pPr indent="-134997">
              <a:defRPr/>
            </a:lvl8pPr>
            <a:lvl9pPr indent="-134997">
              <a:defRPr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nb-NO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6B7B643-B4F1-4DE2-996D-5A6F47D0AC8E}" type="datetime1">
              <a:rPr lang="de-DE" smtClean="0"/>
              <a:t>20.05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Werksführung YARA Rostock 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816368D-D30D-4DEF-846D-C0D252E27498}" type="slidenum">
              <a:rPr lang="de-DE" smtClean="0"/>
              <a:pPr>
                <a:defRPr/>
              </a:pPr>
              <a:t>‹#›</a:t>
            </a:fld>
            <a:endParaRPr lang="de-DE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b-NO" err="1"/>
              <a:t>Click</a:t>
            </a:r>
            <a:r>
              <a:rPr lang="nb-NO"/>
              <a:t> To </a:t>
            </a:r>
            <a:br>
              <a:rPr lang="nb-NO"/>
            </a:br>
            <a:r>
              <a:rPr lang="nb-NO" err="1"/>
              <a:t>Add</a:t>
            </a:r>
            <a:r>
              <a:rPr lang="nb-NO"/>
              <a:t> </a:t>
            </a:r>
            <a:r>
              <a:rPr lang="nb-NO" err="1"/>
              <a:t>Titl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329755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hree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05978"/>
            <a:ext cx="8229600" cy="70958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</a:t>
            </a:r>
            <a:br>
              <a:rPr lang="en-US"/>
            </a:br>
            <a:r>
              <a:rPr lang="en-US"/>
              <a:t>Add Title</a:t>
            </a:r>
            <a:endParaRPr lang="nb-NO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268445" y="4767763"/>
            <a:ext cx="4040088" cy="273844"/>
          </a:xfrm>
          <a:prstGeom prst="rect">
            <a:avLst/>
          </a:prstGeom>
        </p:spPr>
        <p:txBody>
          <a:bodyPr/>
          <a:lstStyle/>
          <a:p>
            <a:r>
              <a:rPr lang="de-DE"/>
              <a:t>YARA Rostock Werkvorstellung (März 2023)</a:t>
            </a:r>
            <a:endParaRPr lang="nb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D838A1-36B1-482C-8BFA-C0C63145B508}" type="slidenum">
              <a:rPr lang="nb-NO" smtClean="0"/>
              <a:t>‹#›</a:t>
            </a:fld>
            <a:endParaRPr lang="nb-NO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059581"/>
            <a:ext cx="2530624" cy="941796"/>
          </a:xfrm>
        </p:spPr>
        <p:txBody>
          <a:bodyPr>
            <a:spAutoFit/>
          </a:bodyPr>
          <a:lstStyle>
            <a:lvl1pPr>
              <a:buClr>
                <a:schemeClr val="bg2"/>
              </a:buClr>
              <a:defRPr sz="1200"/>
            </a:lvl1pPr>
            <a:lvl2pPr>
              <a:buClr>
                <a:schemeClr val="bg2"/>
              </a:buClr>
              <a:defRPr sz="1200"/>
            </a:lvl2pPr>
            <a:lvl3pPr>
              <a:buClr>
                <a:schemeClr val="bg2"/>
              </a:buClr>
              <a:defRPr sz="1200"/>
            </a:lvl3pPr>
            <a:lvl4pPr>
              <a:buClr>
                <a:schemeClr val="bg2"/>
              </a:buClr>
              <a:defRPr sz="1200"/>
            </a:lvl4pPr>
            <a:lvl5pPr>
              <a:buClr>
                <a:schemeClr val="bg2"/>
              </a:buCl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3"/>
          </p:nvPr>
        </p:nvSpPr>
        <p:spPr>
          <a:xfrm>
            <a:off x="3301955" y="1059581"/>
            <a:ext cx="2530624" cy="941796"/>
          </a:xfrm>
        </p:spPr>
        <p:txBody>
          <a:bodyPr>
            <a:spAutoFit/>
          </a:bodyPr>
          <a:lstStyle>
            <a:lvl1pPr>
              <a:buClr>
                <a:schemeClr val="bg2"/>
              </a:buClr>
              <a:defRPr sz="1200"/>
            </a:lvl1pPr>
            <a:lvl2pPr>
              <a:buClr>
                <a:schemeClr val="bg2"/>
              </a:buClr>
              <a:defRPr sz="1200"/>
            </a:lvl2pPr>
            <a:lvl3pPr>
              <a:buClr>
                <a:schemeClr val="bg2"/>
              </a:buClr>
              <a:defRPr sz="1200"/>
            </a:lvl3pPr>
            <a:lvl4pPr>
              <a:buClr>
                <a:schemeClr val="bg2"/>
              </a:buClr>
              <a:defRPr sz="1200"/>
            </a:lvl4pPr>
            <a:lvl5pPr>
              <a:buClr>
                <a:schemeClr val="bg2"/>
              </a:buCl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4"/>
          </p:nvPr>
        </p:nvSpPr>
        <p:spPr>
          <a:xfrm>
            <a:off x="6146710" y="1059581"/>
            <a:ext cx="2530624" cy="941796"/>
          </a:xfrm>
        </p:spPr>
        <p:txBody>
          <a:bodyPr>
            <a:spAutoFit/>
          </a:bodyPr>
          <a:lstStyle>
            <a:lvl1pPr>
              <a:buClr>
                <a:schemeClr val="bg2"/>
              </a:buClr>
              <a:defRPr sz="1200"/>
            </a:lvl1pPr>
            <a:lvl2pPr>
              <a:buClr>
                <a:schemeClr val="bg2"/>
              </a:buClr>
              <a:defRPr sz="1200"/>
            </a:lvl2pPr>
            <a:lvl3pPr>
              <a:buClr>
                <a:schemeClr val="bg2"/>
              </a:buClr>
              <a:defRPr sz="1200"/>
            </a:lvl3pPr>
            <a:lvl4pPr>
              <a:buClr>
                <a:schemeClr val="bg2"/>
              </a:buClr>
              <a:defRPr sz="1200"/>
            </a:lvl4pPr>
            <a:lvl5pPr>
              <a:buClr>
                <a:schemeClr val="bg2"/>
              </a:buCl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0151608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</a:t>
            </a:r>
            <a:br>
              <a:rPr lang="en-US"/>
            </a:br>
            <a:r>
              <a:rPr lang="en-US"/>
              <a:t>Add Title</a:t>
            </a:r>
            <a:endParaRPr lang="nb-NO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268445" y="4767763"/>
            <a:ext cx="4040088" cy="273844"/>
          </a:xfrm>
          <a:prstGeom prst="rect">
            <a:avLst/>
          </a:prstGeom>
        </p:spPr>
        <p:txBody>
          <a:bodyPr/>
          <a:lstStyle/>
          <a:p>
            <a:r>
              <a:rPr lang="de-DE"/>
              <a:t>YARA Rostock Werkvorstellung (März 2023)</a:t>
            </a:r>
            <a:endParaRPr lang="nb-NO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D838A1-36B1-482C-8BFA-C0C63145B508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160349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375133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268445" y="4767763"/>
            <a:ext cx="4040088" cy="273844"/>
          </a:xfrm>
          <a:prstGeom prst="rect">
            <a:avLst/>
          </a:prstGeom>
        </p:spPr>
        <p:txBody>
          <a:bodyPr/>
          <a:lstStyle/>
          <a:p>
            <a:r>
              <a:rPr lang="de-DE"/>
              <a:t>YARA Rostock Werkvorstellung (März 2023)</a:t>
            </a:r>
            <a:endParaRPr lang="nb-NO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D838A1-36B1-482C-8BFA-C0C63145B508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415877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BC 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05978"/>
            <a:ext cx="7643192" cy="70958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</a:t>
            </a:r>
            <a:br>
              <a:rPr lang="en-US"/>
            </a:br>
            <a:r>
              <a:rPr lang="en-US"/>
              <a:t>Add Title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87574"/>
            <a:ext cx="8229600" cy="1163395"/>
          </a:xfrm>
        </p:spPr>
        <p:txBody>
          <a:bodyPr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268445" y="4767763"/>
            <a:ext cx="4040088" cy="273844"/>
          </a:xfrm>
          <a:prstGeom prst="rect">
            <a:avLst/>
          </a:prstGeom>
        </p:spPr>
        <p:txBody>
          <a:bodyPr/>
          <a:lstStyle/>
          <a:p>
            <a:r>
              <a:rPr lang="de-DE"/>
              <a:t>YARA Rostock Werkvorstellung (März 2023)</a:t>
            </a:r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D838A1-36B1-482C-8BFA-C0C63145B508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054042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SBC Two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05978"/>
            <a:ext cx="7643192" cy="70958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</a:t>
            </a:r>
            <a:br>
              <a:rPr lang="en-US"/>
            </a:br>
            <a:r>
              <a:rPr lang="en-US"/>
              <a:t>Add Title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87574"/>
            <a:ext cx="4038600" cy="1163395"/>
          </a:xfrm>
        </p:spPr>
        <p:txBody>
          <a:bodyPr>
            <a:sp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987574"/>
            <a:ext cx="4038600" cy="1163395"/>
          </a:xfrm>
        </p:spPr>
        <p:txBody>
          <a:bodyPr>
            <a:sp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268445" y="4767763"/>
            <a:ext cx="4040088" cy="273844"/>
          </a:xfrm>
          <a:prstGeom prst="rect">
            <a:avLst/>
          </a:prstGeom>
        </p:spPr>
        <p:txBody>
          <a:bodyPr/>
          <a:lstStyle/>
          <a:p>
            <a:r>
              <a:rPr lang="de-DE"/>
              <a:t>YARA Rostock Werkvorstellung (März 2023)</a:t>
            </a:r>
            <a:endParaRPr lang="nb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D838A1-36B1-482C-8BFA-C0C63145B508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7048970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image" Target="../media/image1.jpeg"/><Relationship Id="rId2" Type="http://schemas.openxmlformats.org/officeDocument/2006/relationships/slideLayout" Target="../slideLayouts/slideLayout15.xml"/><Relationship Id="rId16" Type="http://schemas.openxmlformats.org/officeDocument/2006/relationships/tags" Target="../tags/tag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23.xml"/><Relationship Id="rId19" Type="http://schemas.openxmlformats.org/officeDocument/2006/relationships/image" Target="../media/image2.emf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8.xml"/><Relationship Id="rId16" Type="http://schemas.openxmlformats.org/officeDocument/2006/relationships/image" Target="../media/image6.emf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5" Type="http://schemas.openxmlformats.org/officeDocument/2006/relationships/image" Target="../media/image5.svg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7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70958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endParaRPr lang="nb-NO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987574"/>
            <a:ext cx="8229600" cy="360704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920841257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689664091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308533" y="4767763"/>
            <a:ext cx="122413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60432" y="4767763"/>
            <a:ext cx="668456" cy="273844"/>
          </a:xfrm>
          <a:prstGeom prst="rect">
            <a:avLst/>
          </a:prstGeom>
        </p:spPr>
        <p:txBody>
          <a:bodyPr vert="horz" lIns="91440" tIns="45720" rIns="7200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CD838A1-36B1-482C-8BFA-C0C63145B508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350987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  <p:sldLayoutId id="2147483732" r:id="rId5"/>
    <p:sldLayoutId id="2147483733" r:id="rId6"/>
    <p:sldLayoutId id="2147483734" r:id="rId7"/>
    <p:sldLayoutId id="2147483735" r:id="rId8"/>
    <p:sldLayoutId id="2147483736" r:id="rId9"/>
    <p:sldLayoutId id="2147483737" r:id="rId10"/>
    <p:sldLayoutId id="2147483738" r:id="rId11"/>
    <p:sldLayoutId id="2147483739" r:id="rId12"/>
    <p:sldLayoutId id="2147483726" r:id="rId13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spcBef>
          <a:spcPct val="20000"/>
        </a:spcBef>
        <a:buClr>
          <a:schemeClr val="bg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561600" indent="-180000" algn="l" defTabSz="914400" rtl="0" eaLnBrk="1" latinLnBrk="0" hangingPunct="1">
        <a:spcBef>
          <a:spcPct val="20000"/>
        </a:spcBef>
        <a:buClr>
          <a:schemeClr val="bg2"/>
        </a:buClr>
        <a:buSzPct val="90000"/>
        <a:buFont typeface="Arial" panose="020B060402020202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1018800" indent="-180000" algn="l" defTabSz="914400" rtl="0" eaLnBrk="1" latinLnBrk="0" hangingPunct="1">
        <a:spcBef>
          <a:spcPct val="20000"/>
        </a:spcBef>
        <a:buClr>
          <a:schemeClr val="bg2"/>
        </a:buClr>
        <a:buSzPct val="80000"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476000" indent="-180000" algn="l" defTabSz="914400" rtl="0" eaLnBrk="1" latinLnBrk="0" hangingPunct="1">
        <a:spcBef>
          <a:spcPct val="20000"/>
        </a:spcBef>
        <a:buClr>
          <a:schemeClr val="bg2"/>
        </a:buClr>
        <a:buSzPct val="70000"/>
        <a:buFont typeface="Arial" panose="020B060402020202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933200" indent="-180000" algn="l" defTabSz="914400" rtl="0" eaLnBrk="1" latinLnBrk="0" hangingPunct="1">
        <a:spcBef>
          <a:spcPct val="20000"/>
        </a:spcBef>
        <a:buClr>
          <a:schemeClr val="bg2"/>
        </a:buClr>
        <a:buSzPct val="60000"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390400" indent="-180000" algn="l" defTabSz="914400" rtl="0" eaLnBrk="1" latinLnBrk="0" hangingPunct="1">
        <a:spcBef>
          <a:spcPct val="20000"/>
        </a:spcBef>
        <a:buClr>
          <a:schemeClr val="bg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847600" indent="-180000" algn="l" defTabSz="914400" rtl="0" eaLnBrk="1" latinLnBrk="0" hangingPunct="1">
        <a:spcBef>
          <a:spcPct val="20000"/>
        </a:spcBef>
        <a:buClr>
          <a:schemeClr val="bg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304800" indent="-180000" algn="l" defTabSz="914400" rtl="0" eaLnBrk="1" latinLnBrk="0" hangingPunct="1">
        <a:spcBef>
          <a:spcPct val="20000"/>
        </a:spcBef>
        <a:buClr>
          <a:schemeClr val="bg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762000" indent="-180000" algn="l" defTabSz="914400" rtl="0" eaLnBrk="1" latinLnBrk="0" hangingPunct="1">
        <a:spcBef>
          <a:spcPct val="20000"/>
        </a:spcBef>
        <a:buClr>
          <a:schemeClr val="bg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7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70958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endParaRPr lang="nb-NO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987574"/>
            <a:ext cx="8229600" cy="360704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920841257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689664091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308533" y="4767763"/>
            <a:ext cx="122413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68445" y="4767763"/>
            <a:ext cx="4040088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YARA Rostock General Presentation (March 2023)</a:t>
            </a:r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60432" y="4767763"/>
            <a:ext cx="668456" cy="273844"/>
          </a:xfrm>
          <a:prstGeom prst="rect">
            <a:avLst/>
          </a:prstGeom>
        </p:spPr>
        <p:txBody>
          <a:bodyPr vert="horz" lIns="91440" tIns="45720" rIns="7200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CD838A1-36B1-482C-8BFA-C0C63145B508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532837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  <p:sldLayoutId id="2147483744" r:id="rId4"/>
    <p:sldLayoutId id="2147483745" r:id="rId5"/>
    <p:sldLayoutId id="2147483746" r:id="rId6"/>
    <p:sldLayoutId id="2147483747" r:id="rId7"/>
    <p:sldLayoutId id="2147483748" r:id="rId8"/>
    <p:sldLayoutId id="2147483749" r:id="rId9"/>
    <p:sldLayoutId id="2147483750" r:id="rId10"/>
    <p:sldLayoutId id="2147483751" r:id="rId11"/>
    <p:sldLayoutId id="2147483752" r:id="rId12"/>
    <p:sldLayoutId id="2147483753" r:id="rId13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spcBef>
          <a:spcPct val="20000"/>
        </a:spcBef>
        <a:buClr>
          <a:schemeClr val="bg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561600" indent="-180000" algn="l" defTabSz="914400" rtl="0" eaLnBrk="1" latinLnBrk="0" hangingPunct="1">
        <a:spcBef>
          <a:spcPct val="20000"/>
        </a:spcBef>
        <a:buClr>
          <a:schemeClr val="bg2"/>
        </a:buClr>
        <a:buSzPct val="90000"/>
        <a:buFont typeface="Arial" panose="020B060402020202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1018800" indent="-180000" algn="l" defTabSz="914400" rtl="0" eaLnBrk="1" latinLnBrk="0" hangingPunct="1">
        <a:spcBef>
          <a:spcPct val="20000"/>
        </a:spcBef>
        <a:buClr>
          <a:schemeClr val="bg2"/>
        </a:buClr>
        <a:buSzPct val="80000"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476000" indent="-180000" algn="l" defTabSz="914400" rtl="0" eaLnBrk="1" latinLnBrk="0" hangingPunct="1">
        <a:spcBef>
          <a:spcPct val="20000"/>
        </a:spcBef>
        <a:buClr>
          <a:schemeClr val="bg2"/>
        </a:buClr>
        <a:buSzPct val="70000"/>
        <a:buFont typeface="Arial" panose="020B060402020202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933200" indent="-180000" algn="l" defTabSz="914400" rtl="0" eaLnBrk="1" latinLnBrk="0" hangingPunct="1">
        <a:spcBef>
          <a:spcPct val="20000"/>
        </a:spcBef>
        <a:buClr>
          <a:schemeClr val="bg2"/>
        </a:buClr>
        <a:buSzPct val="60000"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390400" indent="-180000" algn="l" defTabSz="914400" rtl="0" eaLnBrk="1" latinLnBrk="0" hangingPunct="1">
        <a:spcBef>
          <a:spcPct val="20000"/>
        </a:spcBef>
        <a:buClr>
          <a:schemeClr val="bg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847600" indent="-180000" algn="l" defTabSz="914400" rtl="0" eaLnBrk="1" latinLnBrk="0" hangingPunct="1">
        <a:spcBef>
          <a:spcPct val="20000"/>
        </a:spcBef>
        <a:buClr>
          <a:schemeClr val="bg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304800" indent="-180000" algn="l" defTabSz="914400" rtl="0" eaLnBrk="1" latinLnBrk="0" hangingPunct="1">
        <a:spcBef>
          <a:spcPct val="20000"/>
        </a:spcBef>
        <a:buClr>
          <a:schemeClr val="bg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762000" indent="-180000" algn="l" defTabSz="914400" rtl="0" eaLnBrk="1" latinLnBrk="0" hangingPunct="1">
        <a:spcBef>
          <a:spcPct val="20000"/>
        </a:spcBef>
        <a:buClr>
          <a:schemeClr val="bg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EDAFBCAE-280F-4CB0-BA65-4D1CE85EC3FD}"/>
              </a:ext>
            </a:extLst>
          </p:cNvPr>
          <p:cNvSpPr/>
          <p:nvPr userDrawn="1"/>
        </p:nvSpPr>
        <p:spPr>
          <a:xfrm>
            <a:off x="0" y="4724400"/>
            <a:ext cx="9144000" cy="419100"/>
          </a:xfrm>
          <a:prstGeom prst="rect">
            <a:avLst/>
          </a:prstGeom>
          <a:solidFill>
            <a:srgbClr val="D9E1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27000" rIns="54000" bIns="27000" rtlCol="0" anchor="ctr"/>
          <a:lstStyle/>
          <a:p>
            <a:pPr algn="ctr"/>
            <a:endParaRPr lang="en-GB" sz="1500" noProof="0" err="1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04999" y="1350000"/>
            <a:ext cx="8334900" cy="31725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/>
              <a:t>Level 1 (Enter+TAB for next text level, SHIFT+TAB to go back in levels)</a:t>
            </a:r>
          </a:p>
          <a:p>
            <a:pPr lvl="1"/>
            <a:r>
              <a:rPr lang="en-GB" noProof="0"/>
              <a:t>Level 2</a:t>
            </a:r>
          </a:p>
          <a:p>
            <a:pPr lvl="2"/>
            <a:r>
              <a:rPr lang="en-GB" noProof="0"/>
              <a:t>Level 3</a:t>
            </a:r>
          </a:p>
          <a:p>
            <a:pPr lvl="3"/>
            <a:r>
              <a:rPr lang="en-GB" noProof="0"/>
              <a:t>Level 4, Header</a:t>
            </a:r>
          </a:p>
          <a:p>
            <a:pPr lvl="4"/>
            <a:r>
              <a:rPr lang="en-GB" noProof="0"/>
              <a:t>Level 5, Body</a:t>
            </a:r>
          </a:p>
          <a:p>
            <a:pPr lvl="5"/>
            <a:r>
              <a:rPr lang="en-GB" noProof="0"/>
              <a:t>Level 6</a:t>
            </a:r>
          </a:p>
          <a:p>
            <a:pPr lvl="6"/>
            <a:r>
              <a:rPr lang="en-GB" noProof="0"/>
              <a:t>Level 7, Small Header</a:t>
            </a:r>
          </a:p>
          <a:p>
            <a:pPr lvl="7"/>
            <a:r>
              <a:rPr lang="en-GB" noProof="0"/>
              <a:t>Level 8, Small Body</a:t>
            </a:r>
          </a:p>
          <a:p>
            <a:pPr lvl="8"/>
            <a:r>
              <a:rPr lang="en-GB" noProof="0"/>
              <a:t>Level 9, Infographic</a:t>
            </a:r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5000" y="405000"/>
            <a:ext cx="8334900" cy="86320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add titl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643F1B6-0743-4D14-8B95-B030120DE5D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135165" y="4824900"/>
            <a:ext cx="1350000" cy="135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04F4E5E3-E50D-4528-B5EB-4B3D5838390B}" type="datetime6">
              <a:rPr lang="en-GB" smtClean="0"/>
              <a:t>May 25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9460BDC-2796-43E8-A075-B3BFBC3B28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7100" y="4765500"/>
            <a:ext cx="7279200" cy="351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4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942516E-ED5A-4F68-B285-E8D0CC42F9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485165" y="4824900"/>
            <a:ext cx="251641" cy="135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2B7B00AF-1383-42F0-888F-892F967A237D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34813" y="4798950"/>
            <a:ext cx="270000" cy="270000"/>
          </a:xfrm>
          <a:prstGeom prst="rect">
            <a:avLst/>
          </a:prstGeom>
        </p:spPr>
      </p:pic>
      <p:pic>
        <p:nvPicPr>
          <p:cNvPr id="278964664" name="image" descr="{&quot;templafy&quot;:{&quot;id&quot;:&quot;bfababa9-b83c-4d14-990e-b20d569a8467&quot;}}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8155117" y="-9144"/>
            <a:ext cx="729000" cy="1021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03409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  <p:sldLayoutId id="2147483758" r:id="rId2"/>
    <p:sldLayoutId id="2147483759" r:id="rId3"/>
    <p:sldLayoutId id="2147483760" r:id="rId4"/>
    <p:sldLayoutId id="2147483761" r:id="rId5"/>
    <p:sldLayoutId id="2147483762" r:id="rId6"/>
    <p:sldLayoutId id="2147483763" r:id="rId7"/>
    <p:sldLayoutId id="2147483764" r:id="rId8"/>
    <p:sldLayoutId id="2147483765" r:id="rId9"/>
    <p:sldLayoutId id="2147483766" r:id="rId10"/>
    <p:sldLayoutId id="2147483767" r:id="rId11"/>
    <p:sldLayoutId id="2147483768" r:id="rId12"/>
  </p:sldLayoutIdLst>
  <p:hf sldNum="0" hdr="0" ftr="0" dt="0"/>
  <p:txStyles>
    <p:titleStyle>
      <a:lvl1pPr algn="l" defTabSz="685800" rtl="0" eaLnBrk="1" latinLnBrk="0" hangingPunct="1">
        <a:lnSpc>
          <a:spcPct val="83000"/>
        </a:lnSpc>
        <a:spcBef>
          <a:spcPct val="0"/>
        </a:spcBef>
        <a:buNone/>
        <a:defRPr sz="2400" b="1" kern="1200">
          <a:solidFill>
            <a:srgbClr val="2777B8"/>
          </a:solidFill>
          <a:latin typeface="+mj-lt"/>
          <a:ea typeface="+mj-ea"/>
          <a:cs typeface="+mj-cs"/>
        </a:defRPr>
      </a:lvl1pPr>
    </p:titleStyle>
    <p:bodyStyle>
      <a:lvl1pPr marL="135000" indent="-135000" algn="l" defTabSz="685800" rtl="0" eaLnBrk="1" latinLnBrk="0" hangingPunct="1">
        <a:lnSpc>
          <a:spcPct val="125000"/>
        </a:lnSpc>
        <a:spcBef>
          <a:spcPts val="0"/>
        </a:spcBef>
        <a:spcAft>
          <a:spcPts val="450"/>
        </a:spcAft>
        <a:buClr>
          <a:srgbClr val="2777B8"/>
        </a:buClr>
        <a:buFont typeface="Arial" panose="020B0604020202020204" pitchFamily="34" charset="0"/>
        <a:buChar char="•"/>
        <a:defRPr sz="1500" kern="1200">
          <a:solidFill>
            <a:srgbClr val="7F7F7F"/>
          </a:solidFill>
          <a:latin typeface="+mn-lt"/>
          <a:ea typeface="+mn-ea"/>
          <a:cs typeface="+mn-cs"/>
        </a:defRPr>
      </a:lvl1pPr>
      <a:lvl2pPr marL="270000" indent="-135000" algn="l" defTabSz="685800" rtl="0" eaLnBrk="1" latinLnBrk="0" hangingPunct="1">
        <a:lnSpc>
          <a:spcPct val="125000"/>
        </a:lnSpc>
        <a:spcBef>
          <a:spcPts val="0"/>
        </a:spcBef>
        <a:spcAft>
          <a:spcPts val="450"/>
        </a:spcAft>
        <a:buClr>
          <a:srgbClr val="2777B8"/>
        </a:buClr>
        <a:buFont typeface="Arial" panose="020B0604020202020204" pitchFamily="34" charset="0"/>
        <a:buChar char="•"/>
        <a:defRPr sz="1350" kern="1200">
          <a:solidFill>
            <a:srgbClr val="7F7F7F"/>
          </a:solidFill>
          <a:latin typeface="+mn-lt"/>
          <a:ea typeface="+mn-ea"/>
          <a:cs typeface="+mn-cs"/>
        </a:defRPr>
      </a:lvl2pPr>
      <a:lvl3pPr marL="405000" indent="-135000" algn="l" defTabSz="685800" rtl="0" eaLnBrk="1" latinLnBrk="0" hangingPunct="1">
        <a:lnSpc>
          <a:spcPct val="125000"/>
        </a:lnSpc>
        <a:spcBef>
          <a:spcPts val="0"/>
        </a:spcBef>
        <a:spcAft>
          <a:spcPts val="450"/>
        </a:spcAft>
        <a:buClr>
          <a:srgbClr val="2777B8"/>
        </a:buClr>
        <a:buFont typeface="Arial" panose="020B0604020202020204" pitchFamily="34" charset="0"/>
        <a:buChar char="•"/>
        <a:defRPr sz="1200" kern="1200">
          <a:solidFill>
            <a:srgbClr val="7F7F7F"/>
          </a:solidFill>
          <a:latin typeface="+mn-lt"/>
          <a:ea typeface="+mn-ea"/>
          <a:cs typeface="+mn-cs"/>
        </a:defRPr>
      </a:lvl3pPr>
      <a:lvl4pPr marL="0" indent="0" algn="l" defTabSz="685800" rtl="0" eaLnBrk="1" latinLnBrk="0" hangingPunct="1">
        <a:lnSpc>
          <a:spcPct val="125000"/>
        </a:lnSpc>
        <a:spcBef>
          <a:spcPts val="0"/>
        </a:spcBef>
        <a:spcAft>
          <a:spcPts val="450"/>
        </a:spcAft>
        <a:buFont typeface="Arial" panose="020B0604020202020204" pitchFamily="34" charset="0"/>
        <a:buChar char="​"/>
        <a:defRPr sz="1500" b="1" kern="1200">
          <a:solidFill>
            <a:srgbClr val="7F7F7F"/>
          </a:solidFill>
          <a:latin typeface="+mn-lt"/>
          <a:ea typeface="+mn-ea"/>
          <a:cs typeface="+mn-cs"/>
        </a:defRPr>
      </a:lvl4pPr>
      <a:lvl5pPr marL="0" indent="0" algn="l" defTabSz="685800" rtl="0" eaLnBrk="1" latinLnBrk="0" hangingPunct="1">
        <a:lnSpc>
          <a:spcPct val="125000"/>
        </a:lnSpc>
        <a:spcBef>
          <a:spcPts val="0"/>
        </a:spcBef>
        <a:spcAft>
          <a:spcPts val="450"/>
        </a:spcAft>
        <a:buFont typeface="Arial" panose="020B0604020202020204" pitchFamily="34" charset="0"/>
        <a:buChar char="​"/>
        <a:tabLst/>
        <a:defRPr sz="1500" kern="1200">
          <a:solidFill>
            <a:srgbClr val="7F7F7F"/>
          </a:solidFill>
          <a:latin typeface="+mn-lt"/>
          <a:ea typeface="+mn-ea"/>
          <a:cs typeface="+mn-cs"/>
        </a:defRPr>
      </a:lvl5pPr>
      <a:lvl6pPr marL="135000" indent="-135000" algn="l" defTabSz="685800" rtl="0" eaLnBrk="1" latinLnBrk="0" hangingPunct="1">
        <a:lnSpc>
          <a:spcPct val="125000"/>
        </a:lnSpc>
        <a:spcBef>
          <a:spcPts val="0"/>
        </a:spcBef>
        <a:spcAft>
          <a:spcPts val="450"/>
        </a:spcAft>
        <a:buClr>
          <a:srgbClr val="2777B8"/>
        </a:buClr>
        <a:buFont typeface="Arial" panose="020B0604020202020204" pitchFamily="34" charset="0"/>
        <a:buChar char="•"/>
        <a:defRPr sz="900" kern="1200">
          <a:solidFill>
            <a:srgbClr val="7F7F7F"/>
          </a:solidFill>
          <a:latin typeface="+mn-lt"/>
          <a:ea typeface="+mn-ea"/>
          <a:cs typeface="+mn-cs"/>
        </a:defRPr>
      </a:lvl6pPr>
      <a:lvl7pPr marL="0" indent="0" algn="l" defTabSz="685800" rtl="0" eaLnBrk="1" latinLnBrk="0" hangingPunct="1">
        <a:lnSpc>
          <a:spcPct val="125000"/>
        </a:lnSpc>
        <a:spcBef>
          <a:spcPts val="0"/>
        </a:spcBef>
        <a:spcAft>
          <a:spcPts val="450"/>
        </a:spcAft>
        <a:buFont typeface="Arial" panose="020B0604020202020204" pitchFamily="34" charset="0"/>
        <a:buChar char="​"/>
        <a:defRPr sz="900" b="1" kern="1200" baseline="0">
          <a:solidFill>
            <a:srgbClr val="7F7F7F"/>
          </a:solidFill>
          <a:latin typeface="+mn-lt"/>
          <a:ea typeface="+mn-ea"/>
          <a:cs typeface="+mn-cs"/>
        </a:defRPr>
      </a:lvl7pPr>
      <a:lvl8pPr marL="0" indent="0" algn="l" defTabSz="685800" rtl="0" eaLnBrk="1" latinLnBrk="0" hangingPunct="1">
        <a:lnSpc>
          <a:spcPct val="125000"/>
        </a:lnSpc>
        <a:spcBef>
          <a:spcPts val="0"/>
        </a:spcBef>
        <a:spcAft>
          <a:spcPts val="450"/>
        </a:spcAft>
        <a:buFont typeface="Arial" panose="020B0604020202020204" pitchFamily="34" charset="0"/>
        <a:buChar char="​"/>
        <a:defRPr sz="900" kern="1200">
          <a:solidFill>
            <a:srgbClr val="7F7F7F"/>
          </a:solidFill>
          <a:latin typeface="+mn-lt"/>
          <a:ea typeface="+mn-ea"/>
          <a:cs typeface="+mn-cs"/>
        </a:defRPr>
      </a:lvl8pPr>
      <a:lvl9pPr marL="0" indent="0" algn="l" defTabSz="685800" rtl="0" eaLnBrk="1" latinLnBrk="0" hangingPunct="1">
        <a:lnSpc>
          <a:spcPct val="125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​"/>
        <a:defRPr sz="4950" kern="1200" baseline="0">
          <a:solidFill>
            <a:srgbClr val="7F7F7F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40">
          <p15:clr>
            <a:srgbClr val="F26B43"/>
          </p15:clr>
        </p15:guide>
        <p15:guide id="2" pos="7340">
          <p15:clr>
            <a:srgbClr val="F26B43"/>
          </p15:clr>
        </p15:guide>
        <p15:guide id="3" orient="horz" pos="340">
          <p15:clr>
            <a:srgbClr val="F26B43"/>
          </p15:clr>
        </p15:guide>
        <p15:guide id="4" orient="horz" pos="1065">
          <p15:clr>
            <a:srgbClr val="F26B43"/>
          </p15:clr>
        </p15:guide>
        <p15:guide id="5" orient="horz" pos="1133">
          <p15:clr>
            <a:srgbClr val="F26B43"/>
          </p15:clr>
        </p15:guide>
        <p15:guide id="6" orient="horz" pos="396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6.xml"/><Relationship Id="rId4" Type="http://schemas.openxmlformats.org/officeDocument/2006/relationships/image" Target="../media/image9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4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646FA03E-B4A8-4998-99CB-A44C98C0FA7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YARA Rostock</a:t>
            </a:r>
            <a:br>
              <a:rPr lang="en-US"/>
            </a:br>
            <a:r>
              <a:rPr lang="en-US"/>
              <a:t>THG </a:t>
            </a:r>
            <a:r>
              <a:rPr lang="en-US" err="1"/>
              <a:t>Projekt</a:t>
            </a:r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373995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 descr="Ein Bild, das Kompositmaterial, Bautechnik, Stahl, Bahn enthält.&#10;&#10;Automatisch generierte Beschreibung">
            <a:extLst>
              <a:ext uri="{FF2B5EF4-FFF2-40B4-BE49-F238E27FC236}">
                <a16:creationId xmlns:a16="http://schemas.microsoft.com/office/drawing/2014/main" id="{FFE78E0F-9B92-E458-AB04-F77CFECF410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16" b="21284"/>
          <a:stretch>
            <a:fillRect/>
          </a:stretch>
        </p:blipFill>
        <p:spPr>
          <a:xfrm>
            <a:off x="0" y="10"/>
            <a:ext cx="9143980" cy="5143490"/>
          </a:xfrm>
          <a:prstGeom prst="rect">
            <a:avLst/>
          </a:prstGeom>
          <a:noFill/>
        </p:spPr>
      </p:pic>
      <p:sp>
        <p:nvSpPr>
          <p:cNvPr id="3" name="Foliennummernplatzhalter 2" hidden="1">
            <a:extLst>
              <a:ext uri="{FF2B5EF4-FFF2-40B4-BE49-F238E27FC236}">
                <a16:creationId xmlns:a16="http://schemas.microsoft.com/office/drawing/2014/main" id="{54B39387-0D1F-8E5F-88D5-A68662F8FE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fld id="{0CD838A1-36B1-482C-8BFA-C0C63145B508}" type="slidenum">
              <a:rPr lang="nb-NO" smtClean="0"/>
              <a:pPr>
                <a:spcAft>
                  <a:spcPts val="600"/>
                </a:spcAft>
              </a:pPr>
              <a:t>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7184355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 descr="Ein Bild, das Stahl, Gebäude, Pfeife Flöte Rohr, Holz enthält.&#10;&#10;Automatisch generierte Beschreibung">
            <a:extLst>
              <a:ext uri="{FF2B5EF4-FFF2-40B4-BE49-F238E27FC236}">
                <a16:creationId xmlns:a16="http://schemas.microsoft.com/office/drawing/2014/main" id="{B1CD7547-AE8F-3DFB-A344-22AEF85D6D6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805" b="26007"/>
          <a:stretch>
            <a:fillRect/>
          </a:stretch>
        </p:blipFill>
        <p:spPr>
          <a:xfrm>
            <a:off x="20" y="252258"/>
            <a:ext cx="9143980" cy="5143490"/>
          </a:xfrm>
          <a:prstGeom prst="rect">
            <a:avLst/>
          </a:prstGeom>
          <a:noFill/>
        </p:spPr>
      </p:pic>
      <p:sp>
        <p:nvSpPr>
          <p:cNvPr id="3" name="Foliennummernplatzhalter 2" hidden="1">
            <a:extLst>
              <a:ext uri="{FF2B5EF4-FFF2-40B4-BE49-F238E27FC236}">
                <a16:creationId xmlns:a16="http://schemas.microsoft.com/office/drawing/2014/main" id="{F8907BF2-5351-877A-45E7-8225E1EFC7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fld id="{0CD838A1-36B1-482C-8BFA-C0C63145B508}" type="slidenum">
              <a:rPr lang="nb-NO" smtClean="0"/>
              <a:pPr>
                <a:spcAft>
                  <a:spcPts val="600"/>
                </a:spcAft>
              </a:pPr>
              <a:t>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960162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 descr="Ein Bild, das Bautechnik, Stahl, Fabrik, Industrie enthält.&#10;&#10;Automatisch generierte Beschreibung">
            <a:extLst>
              <a:ext uri="{FF2B5EF4-FFF2-40B4-BE49-F238E27FC236}">
                <a16:creationId xmlns:a16="http://schemas.microsoft.com/office/drawing/2014/main" id="{3585D70A-2A86-A3A8-500E-1B8EC86E44F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5000"/>
          <a:stretch>
            <a:fillRect/>
          </a:stretch>
        </p:blipFill>
        <p:spPr>
          <a:xfrm>
            <a:off x="20" y="10"/>
            <a:ext cx="9143980" cy="5143490"/>
          </a:xfrm>
          <a:prstGeom prst="rect">
            <a:avLst/>
          </a:prstGeom>
          <a:noFill/>
        </p:spPr>
      </p:pic>
      <p:sp>
        <p:nvSpPr>
          <p:cNvPr id="3" name="Foliennummernplatzhalter 2" hidden="1">
            <a:extLst>
              <a:ext uri="{FF2B5EF4-FFF2-40B4-BE49-F238E27FC236}">
                <a16:creationId xmlns:a16="http://schemas.microsoft.com/office/drawing/2014/main" id="{7393272B-2B46-D7CA-9882-31B5D7E14F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fld id="{0CD838A1-36B1-482C-8BFA-C0C63145B508}" type="slidenum">
              <a:rPr lang="nb-NO" smtClean="0"/>
              <a:pPr>
                <a:spcAft>
                  <a:spcPts val="600"/>
                </a:spcAft>
              </a:pPr>
              <a:t>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528887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 descr="Ein Bild, das Gebäude, Im Haus, Stahl, Kompositmaterial enthält.&#10;&#10;Automatisch generierte Beschreibung">
            <a:extLst>
              <a:ext uri="{FF2B5EF4-FFF2-40B4-BE49-F238E27FC236}">
                <a16:creationId xmlns:a16="http://schemas.microsoft.com/office/drawing/2014/main" id="{9BFA7096-75AA-71B8-A443-649F8132ACF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5000"/>
          <a:stretch>
            <a:fillRect/>
          </a:stretch>
        </p:blipFill>
        <p:spPr>
          <a:xfrm>
            <a:off x="20" y="10"/>
            <a:ext cx="9143980" cy="5143490"/>
          </a:xfrm>
          <a:prstGeom prst="rect">
            <a:avLst/>
          </a:prstGeom>
          <a:noFill/>
        </p:spPr>
      </p:pic>
      <p:sp>
        <p:nvSpPr>
          <p:cNvPr id="3" name="Foliennummernplatzhalter 2" hidden="1">
            <a:extLst>
              <a:ext uri="{FF2B5EF4-FFF2-40B4-BE49-F238E27FC236}">
                <a16:creationId xmlns:a16="http://schemas.microsoft.com/office/drawing/2014/main" id="{A4D65290-D6C7-4148-F2FC-8D2986DB8A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fld id="{0CD838A1-36B1-482C-8BFA-C0C63145B508}" type="slidenum">
              <a:rPr lang="nb-NO" smtClean="0"/>
              <a:pPr>
                <a:spcAft>
                  <a:spcPts val="600"/>
                </a:spcAft>
              </a:pPr>
              <a:t>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055538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 descr="Ein Bild, das Gelände, Kompositmaterial, Gebäude, Beton enthält.&#10;&#10;Automatisch generierte Beschreibung">
            <a:extLst>
              <a:ext uri="{FF2B5EF4-FFF2-40B4-BE49-F238E27FC236}">
                <a16:creationId xmlns:a16="http://schemas.microsoft.com/office/drawing/2014/main" id="{2B146EDC-F0D9-E45B-7AA3-4B1B8F065C5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5000"/>
          <a:stretch>
            <a:fillRect/>
          </a:stretch>
        </p:blipFill>
        <p:spPr>
          <a:xfrm>
            <a:off x="20" y="10"/>
            <a:ext cx="9143980" cy="5143490"/>
          </a:xfrm>
          <a:prstGeom prst="rect">
            <a:avLst/>
          </a:prstGeom>
          <a:noFill/>
        </p:spPr>
      </p:pic>
      <p:sp>
        <p:nvSpPr>
          <p:cNvPr id="3" name="Foliennummernplatzhalter 2" hidden="1">
            <a:extLst>
              <a:ext uri="{FF2B5EF4-FFF2-40B4-BE49-F238E27FC236}">
                <a16:creationId xmlns:a16="http://schemas.microsoft.com/office/drawing/2014/main" id="{173B0B0D-8ABF-276C-F5E1-EEED96FC6A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fld id="{0CD838A1-36B1-482C-8BFA-C0C63145B508}" type="slidenum">
              <a:rPr lang="nb-NO" smtClean="0"/>
              <a:pPr>
                <a:spcAft>
                  <a:spcPts val="600"/>
                </a:spcAft>
              </a:pPr>
              <a:t>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549155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 descr="Ein Bild, das Gelände, draußen, Beton enthält.&#10;&#10;Automatisch generierte Beschreibung">
            <a:extLst>
              <a:ext uri="{FF2B5EF4-FFF2-40B4-BE49-F238E27FC236}">
                <a16:creationId xmlns:a16="http://schemas.microsoft.com/office/drawing/2014/main" id="{00CBA3B8-DB93-B60F-ED1E-CC40FCB43B4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5000"/>
          <a:stretch>
            <a:fillRect/>
          </a:stretch>
        </p:blipFill>
        <p:spPr>
          <a:xfrm>
            <a:off x="20" y="10"/>
            <a:ext cx="9143980" cy="5143490"/>
          </a:xfrm>
          <a:prstGeom prst="rect">
            <a:avLst/>
          </a:prstGeom>
          <a:noFill/>
        </p:spPr>
      </p:pic>
      <p:sp>
        <p:nvSpPr>
          <p:cNvPr id="3" name="Foliennummernplatzhalter 2" hidden="1">
            <a:extLst>
              <a:ext uri="{FF2B5EF4-FFF2-40B4-BE49-F238E27FC236}">
                <a16:creationId xmlns:a16="http://schemas.microsoft.com/office/drawing/2014/main" id="{48CC6F67-E1FE-8765-F0AE-2932FE5374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fld id="{0CD838A1-36B1-482C-8BFA-C0C63145B508}" type="slidenum">
              <a:rPr lang="nb-NO" smtClean="0"/>
              <a:pPr>
                <a:spcAft>
                  <a:spcPts val="600"/>
                </a:spcAft>
              </a:pPr>
              <a:t>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784841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 descr="Ein Bild, das Kompositmaterial, Gebäude, Gelände, Grau enthält.&#10;&#10;Automatisch generierte Beschreibung">
            <a:extLst>
              <a:ext uri="{FF2B5EF4-FFF2-40B4-BE49-F238E27FC236}">
                <a16:creationId xmlns:a16="http://schemas.microsoft.com/office/drawing/2014/main" id="{1B7B1DA8-109F-93D5-2AAA-63D9FE91F81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5000"/>
          <a:stretch>
            <a:fillRect/>
          </a:stretch>
        </p:blipFill>
        <p:spPr>
          <a:xfrm>
            <a:off x="20" y="10"/>
            <a:ext cx="9143980" cy="5143490"/>
          </a:xfrm>
          <a:prstGeom prst="rect">
            <a:avLst/>
          </a:prstGeom>
          <a:noFill/>
        </p:spPr>
      </p:pic>
      <p:sp>
        <p:nvSpPr>
          <p:cNvPr id="3" name="Foliennummernplatzhalter 2" hidden="1">
            <a:extLst>
              <a:ext uri="{FF2B5EF4-FFF2-40B4-BE49-F238E27FC236}">
                <a16:creationId xmlns:a16="http://schemas.microsoft.com/office/drawing/2014/main" id="{9255C133-5DEF-A248-E316-3CFACC3688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fld id="{0CD838A1-36B1-482C-8BFA-C0C63145B508}" type="slidenum">
              <a:rPr lang="nb-NO" smtClean="0"/>
              <a:pPr>
                <a:spcAft>
                  <a:spcPts val="600"/>
                </a:spcAft>
              </a:pPr>
              <a:t>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532319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GESET" val="16x9"/>
  <p:tag name="COLORSET" val="Yara 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CTURE" val="Orange Front.jpg"/>
  <p:tag name="TYPE" val="FRONT"/>
  <p:tag name="SMALLIMAGE" val="1.jpg"/>
  <p:tag name="BIGIMAGE" val="91.jpg"/>
</p:tagLst>
</file>

<file path=ppt/theme/theme1.xml><?xml version="1.0" encoding="utf-8"?>
<a:theme xmlns:a="http://schemas.openxmlformats.org/drawingml/2006/main" name="16x9">
  <a:themeElements>
    <a:clrScheme name="Yara 2 2017">
      <a:dk1>
        <a:srgbClr val="000000"/>
      </a:dk1>
      <a:lt1>
        <a:srgbClr val="FFFFFF"/>
      </a:lt1>
      <a:dk2>
        <a:srgbClr val="FFFFFF"/>
      </a:dk2>
      <a:lt2>
        <a:srgbClr val="5E8AB4"/>
      </a:lt2>
      <a:accent1>
        <a:srgbClr val="69B3E7"/>
      </a:accent1>
      <a:accent2>
        <a:srgbClr val="78A22F"/>
      </a:accent2>
      <a:accent3>
        <a:srgbClr val="F89B28"/>
      </a:accent3>
      <a:accent4>
        <a:srgbClr val="7D6A55"/>
      </a:accent4>
      <a:accent5>
        <a:srgbClr val="FFC000"/>
      </a:accent5>
      <a:accent6>
        <a:srgbClr val="5E8AB4"/>
      </a:accent6>
      <a:hlink>
        <a:srgbClr val="5E8AB4"/>
      </a:hlink>
      <a:folHlink>
        <a:srgbClr val="5E8AB4"/>
      </a:folHlink>
    </a:clrScheme>
    <a:fontScheme name="YaraArial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t"/>
      <a:lstStyle>
        <a:defPPr marL="0" indent="0" algn="l">
          <a:buClr>
            <a:schemeClr val="bg2"/>
          </a:buClr>
          <a:buFontTx/>
          <a:buNone/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noAutofit/>
      </a:bodyPr>
      <a:lstStyle>
        <a:defPPr marL="0" indent="0">
          <a:buClr>
            <a:schemeClr val="bg2"/>
          </a:buClr>
          <a:buFont typeface="Arial" panose="020B0604020202020204" pitchFamily="34" charset="0"/>
          <a:buNone/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16x9" id="{3AAC2D91-15BE-4FEE-BB75-BA023CB51BBE}" vid="{AED20E71-78A4-4A71-A609-26EE08315558}"/>
    </a:ext>
  </a:extLst>
</a:theme>
</file>

<file path=ppt/theme/theme2.xml><?xml version="1.0" encoding="utf-8"?>
<a:theme xmlns:a="http://schemas.openxmlformats.org/drawingml/2006/main" name="1_16x9">
  <a:themeElements>
    <a:clrScheme name="Yara 2 2017">
      <a:dk1>
        <a:srgbClr val="000000"/>
      </a:dk1>
      <a:lt1>
        <a:srgbClr val="FFFFFF"/>
      </a:lt1>
      <a:dk2>
        <a:srgbClr val="FFFFFF"/>
      </a:dk2>
      <a:lt2>
        <a:srgbClr val="5E8AB4"/>
      </a:lt2>
      <a:accent1>
        <a:srgbClr val="69B3E7"/>
      </a:accent1>
      <a:accent2>
        <a:srgbClr val="78A22F"/>
      </a:accent2>
      <a:accent3>
        <a:srgbClr val="F89B28"/>
      </a:accent3>
      <a:accent4>
        <a:srgbClr val="7D6A55"/>
      </a:accent4>
      <a:accent5>
        <a:srgbClr val="FFC000"/>
      </a:accent5>
      <a:accent6>
        <a:srgbClr val="5E8AB4"/>
      </a:accent6>
      <a:hlink>
        <a:srgbClr val="5E8AB4"/>
      </a:hlink>
      <a:folHlink>
        <a:srgbClr val="5E8AB4"/>
      </a:folHlink>
    </a:clrScheme>
    <a:fontScheme name="YaraArial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t"/>
      <a:lstStyle>
        <a:defPPr marL="0" indent="0" algn="l">
          <a:buClr>
            <a:schemeClr val="bg2"/>
          </a:buClr>
          <a:buFontTx/>
          <a:buNone/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noAutofit/>
      </a:bodyPr>
      <a:lstStyle>
        <a:defPPr marL="0" indent="0">
          <a:buClr>
            <a:schemeClr val="bg2"/>
          </a:buClr>
          <a:buFont typeface="Arial" panose="020B0604020202020204" pitchFamily="34" charset="0"/>
          <a:buNone/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16x9" id="{3AAC2D91-15BE-4FEE-BB75-BA023CB51BBE}" vid="{AED20E71-78A4-4A71-A609-26EE08315558}"/>
    </a:ext>
  </a:extLst>
</a:theme>
</file>

<file path=ppt/theme/theme3.xml><?xml version="1.0" encoding="utf-8"?>
<a:theme xmlns:a="http://schemas.openxmlformats.org/drawingml/2006/main" name="Yara">
  <a:themeElements>
    <a:clrScheme name="YaraBlue">
      <a:dk1>
        <a:sysClr val="windowText" lastClr="000000"/>
      </a:dk1>
      <a:lt1>
        <a:srgbClr val="FFFFFF"/>
      </a:lt1>
      <a:dk2>
        <a:srgbClr val="5A4E45"/>
      </a:dk2>
      <a:lt2>
        <a:srgbClr val="ACA199"/>
      </a:lt2>
      <a:accent1>
        <a:srgbClr val="2777B8"/>
      </a:accent1>
      <a:accent2>
        <a:srgbClr val="63B6E6"/>
      </a:accent2>
      <a:accent3>
        <a:srgbClr val="507A07"/>
      </a:accent3>
      <a:accent4>
        <a:srgbClr val="FFCF01"/>
      </a:accent4>
      <a:accent5>
        <a:srgbClr val="C2CC23"/>
      </a:accent5>
      <a:accent6>
        <a:srgbClr val="FF8228"/>
      </a:accent6>
      <a:hlink>
        <a:srgbClr val="2777B8"/>
      </a:hlink>
      <a:folHlink>
        <a:srgbClr val="FF8228"/>
      </a:folHlink>
    </a:clrScheme>
    <a:fontScheme name="Yara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72000" tIns="36000" rIns="72000" bIns="36000" rtlCol="0" anchor="ctr"/>
      <a:lstStyle>
        <a:defPPr algn="ctr">
          <a:defRPr sz="2000" noProof="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custClrLst>
    <a:custClr name="Yara Blue">
      <a:srgbClr val="00205B"/>
    </a:custClr>
    <a:custClr name="Yara Mid Blue">
      <a:srgbClr val="2777B8"/>
    </a:custClr>
    <a:custClr name="Yara Bright Blue">
      <a:srgbClr val="63B6E6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Yara Dark Green">
      <a:srgbClr val="507A07"/>
    </a:custClr>
    <a:custClr name="Yara Mid Green">
      <a:srgbClr val="C2CC23"/>
    </a:custClr>
    <a:custClr name="Yara Pale Green">
      <a:srgbClr val="E2E477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Yara Orange">
      <a:srgbClr val="FF8228"/>
    </a:custClr>
    <a:custClr name="Yara Yellow">
      <a:srgbClr val="FFCF01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Yara Warm Gray">
      <a:srgbClr val="5A4E45"/>
    </a:custClr>
    <a:custClr name="Yara Deep Gray">
      <a:srgbClr val="8E8277"/>
    </a:custClr>
    <a:custClr name="Yara Mid Gray">
      <a:srgbClr val="D8D0C7"/>
    </a:custClr>
    <a:custClr name="Yara Pale Gray">
      <a:srgbClr val="EFE9E5"/>
    </a:custClr>
    <a:custClr name="Yara Pale Blue Gray">
      <a:srgbClr val="D9E1E2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Yara.potx" id="{06C0C949-8E0E-45C8-9341-928B86C8DA21}" vid="{66F9E9D3-5CB8-4DAF-8407-350D52055029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TemplafySlideFormConfiguration><![CDATA[{"formFields":[],"formDataEntries":[]}]]></TemplafySlideFormConfiguration>
</file>

<file path=customXml/item2.xml><?xml version="1.0" encoding="utf-8"?>
<TemplafySlideTemplateConfiguration><![CDATA[{"slideVersion":1,"isValidatorEnabled":false,"isLocked":false,"elementsMetadata":[],"slideId":"637943488434235118","enableDocumentContentUpdater":false,"version":"2.0"}]]></TemplafySlideTemplateConfiguration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6DF93D24B28C0744A103A906EC851561" ma:contentTypeVersion="19" ma:contentTypeDescription="Ein neues Dokument erstellen." ma:contentTypeScope="" ma:versionID="34989b3d230f682b79cb6a6210ab9c41">
  <xsd:schema xmlns:xsd="http://www.w3.org/2001/XMLSchema" xmlns:xs="http://www.w3.org/2001/XMLSchema" xmlns:p="http://schemas.microsoft.com/office/2006/metadata/properties" xmlns:ns2="40769a7e-a274-485e-a00e-f71a270c3429" xmlns:ns3="f61eae86-f015-49b1-b255-0e55a6e5fa3e" xmlns:ns4="87e10885-fc90-419d-b063-93ca34e5acca" targetNamespace="http://schemas.microsoft.com/office/2006/metadata/properties" ma:root="true" ma:fieldsID="9340c84b52041cca7db373a99d0c6d67" ns2:_="" ns3:_="" ns4:_="">
    <xsd:import namespace="40769a7e-a274-485e-a00e-f71a270c3429"/>
    <xsd:import namespace="f61eae86-f015-49b1-b255-0e55a6e5fa3e"/>
    <xsd:import namespace="87e10885-fc90-419d-b063-93ca34e5acc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Tool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4:TaxCatchAll" minOccurs="0"/>
                <xsd:element ref="ns2:MediaServiceLocation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0769a7e-a274-485e-a00e-f71a270c342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Tool" ma:index="13" nillable="true" ma:displayName="Tool" ma:format="Dropdown" ma:internalName="Tool">
      <xsd:simpleType>
        <xsd:union memberTypes="dms:Text">
          <xsd:simpleType>
            <xsd:restriction base="dms:Choice">
              <xsd:enumeration value="Webinar"/>
              <xsd:enumeration value="YPP"/>
              <xsd:enumeration value="Team"/>
              <xsd:enumeration value="DF"/>
            </xsd:restriction>
          </xsd:simpleType>
        </xsd:un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Bildmarkierungen" ma:readOnly="false" ma:fieldId="{5cf76f15-5ced-4ddc-b409-7134ff3c332f}" ma:taxonomyMulti="true" ma:sspId="5533a3b9-b735-45d9-b90a-92a3e579454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4" nillable="true" ma:displayName="Location" ma:internalName="MediaServiceLocation" ma:readOnly="true">
      <xsd:simpleType>
        <xsd:restriction base="dms:Text"/>
      </xsd:simple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61eae86-f015-49b1-b255-0e55a6e5fa3e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7e10885-fc90-419d-b063-93ca34e5acca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ee2c9328-3ce7-48ed-a48f-5a8a57222261}" ma:internalName="TaxCatchAll" ma:showField="CatchAllData" ma:web="f61eae86-f015-49b1-b255-0e55a6e5fa3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87e10885-fc90-419d-b063-93ca34e5acca" xsi:nil="true"/>
    <Tool xmlns="40769a7e-a274-485e-a00e-f71a270c3429" xsi:nil="true"/>
    <lcf76f155ced4ddcb4097134ff3c332f xmlns="40769a7e-a274-485e-a00e-f71a270c3429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AB1128C4-A577-4AFA-8EDD-66B753AE7849}">
  <ds:schemaRefs/>
</ds:datastoreItem>
</file>

<file path=customXml/itemProps2.xml><?xml version="1.0" encoding="utf-8"?>
<ds:datastoreItem xmlns:ds="http://schemas.openxmlformats.org/officeDocument/2006/customXml" ds:itemID="{96438841-5F06-45CF-AC53-24E06BD9219E}">
  <ds:schemaRefs/>
</ds:datastoreItem>
</file>

<file path=customXml/itemProps3.xml><?xml version="1.0" encoding="utf-8"?>
<ds:datastoreItem xmlns:ds="http://schemas.openxmlformats.org/officeDocument/2006/customXml" ds:itemID="{1BC903CB-B8A3-41AF-AB62-07766E8A5F9E}"/>
</file>

<file path=customXml/itemProps4.xml><?xml version="1.0" encoding="utf-8"?>
<ds:datastoreItem xmlns:ds="http://schemas.openxmlformats.org/officeDocument/2006/customXml" ds:itemID="{18960CA0-B487-404D-A1AD-FA2BDB6806EA}"/>
</file>

<file path=customXml/itemProps5.xml><?xml version="1.0" encoding="utf-8"?>
<ds:datastoreItem xmlns:ds="http://schemas.openxmlformats.org/officeDocument/2006/customXml" ds:itemID="{E113AB22-491A-4B27-B055-F460DB5A6B93}"/>
</file>

<file path=docMetadata/LabelInfo.xml><?xml version="1.0" encoding="utf-8"?>
<clbl:labelList xmlns:clbl="http://schemas.microsoft.com/office/2020/mipLabelMetadata">
  <clbl:label id="{40a6354e-6d04-4730-95c3-6ecb9619f301}" enabled="1" method="Privileged" siteId="{ef8a53ea-1a1c-4189-b792-c832dcaea568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16x9</Template>
  <TotalTime>0</TotalTime>
  <Words>87</Words>
  <Application>Microsoft Office PowerPoint</Application>
  <PresentationFormat>On-screen Show (16:9)</PresentationFormat>
  <Paragraphs>23</Paragraphs>
  <Slides>8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5" baseType="lpstr">
      <vt:lpstr>Arial</vt:lpstr>
      <vt:lpstr>Calibri</vt:lpstr>
      <vt:lpstr>Wingdings</vt:lpstr>
      <vt:lpstr>16x9</vt:lpstr>
      <vt:lpstr>1_16x9</vt:lpstr>
      <vt:lpstr>Yara</vt:lpstr>
      <vt:lpstr>think-cell Slide</vt:lpstr>
      <vt:lpstr>YARA Rostock THG Projek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Yara International AS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Yara International ASA User</dc:creator>
  <cp:lastModifiedBy>Mechthild Mohr</cp:lastModifiedBy>
  <cp:revision>4</cp:revision>
  <cp:lastPrinted>2019-06-18T10:18:43Z</cp:lastPrinted>
  <dcterms:created xsi:type="dcterms:W3CDTF">2016-06-10T09:03:05Z</dcterms:created>
  <dcterms:modified xsi:type="dcterms:W3CDTF">2025-05-20T06:49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DF93D24B28C0744A103A906EC851561</vt:lpwstr>
  </property>
</Properties>
</file>